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8.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2" r:id="rId4"/>
    <p:sldMasterId id="2147483890" r:id="rId5"/>
    <p:sldMasterId id="2147483757" r:id="rId6"/>
    <p:sldMasterId id="2147483907" r:id="rId7"/>
    <p:sldMasterId id="2147483922" r:id="rId8"/>
    <p:sldMasterId id="2147483943" r:id="rId9"/>
    <p:sldMasterId id="2147483951" r:id="rId10"/>
    <p:sldMasterId id="2147483977" r:id="rId11"/>
    <p:sldMasterId id="2147483992" r:id="rId12"/>
  </p:sldMasterIdLst>
  <p:notesMasterIdLst>
    <p:notesMasterId r:id="rId67"/>
  </p:notesMasterIdLst>
  <p:handoutMasterIdLst>
    <p:handoutMasterId r:id="rId68"/>
  </p:handoutMasterIdLst>
  <p:sldIdLst>
    <p:sldId id="1242" r:id="rId13"/>
    <p:sldId id="1387" r:id="rId14"/>
    <p:sldId id="1467" r:id="rId15"/>
    <p:sldId id="1489" r:id="rId16"/>
    <p:sldId id="1485" r:id="rId17"/>
    <p:sldId id="1388" r:id="rId18"/>
    <p:sldId id="1389" r:id="rId19"/>
    <p:sldId id="1486" r:id="rId20"/>
    <p:sldId id="1390" r:id="rId21"/>
    <p:sldId id="1391" r:id="rId22"/>
    <p:sldId id="1392" r:id="rId23"/>
    <p:sldId id="1393" r:id="rId24"/>
    <p:sldId id="1394" r:id="rId25"/>
    <p:sldId id="1395" r:id="rId26"/>
    <p:sldId id="1472" r:id="rId27"/>
    <p:sldId id="1473" r:id="rId28"/>
    <p:sldId id="1474" r:id="rId29"/>
    <p:sldId id="1477" r:id="rId30"/>
    <p:sldId id="1478" r:id="rId31"/>
    <p:sldId id="1482" r:id="rId32"/>
    <p:sldId id="1448" r:id="rId33"/>
    <p:sldId id="1483" r:id="rId34"/>
    <p:sldId id="1484" r:id="rId35"/>
    <p:sldId id="1280" r:id="rId36"/>
    <p:sldId id="1413" r:id="rId37"/>
    <p:sldId id="1414" r:id="rId38"/>
    <p:sldId id="1415" r:id="rId39"/>
    <p:sldId id="1503" r:id="rId40"/>
    <p:sldId id="1504" r:id="rId41"/>
    <p:sldId id="1461" r:id="rId42"/>
    <p:sldId id="1449" r:id="rId43"/>
    <p:sldId id="1497" r:id="rId44"/>
    <p:sldId id="1494" r:id="rId45"/>
    <p:sldId id="266" r:id="rId46"/>
    <p:sldId id="641" r:id="rId47"/>
    <p:sldId id="1333" r:id="rId48"/>
    <p:sldId id="1423" r:id="rId49"/>
    <p:sldId id="1365" r:id="rId50"/>
    <p:sldId id="1343" r:id="rId51"/>
    <p:sldId id="1297" r:id="rId52"/>
    <p:sldId id="1463" r:id="rId53"/>
    <p:sldId id="1495" r:id="rId54"/>
    <p:sldId id="1424" r:id="rId55"/>
    <p:sldId id="1455" r:id="rId56"/>
    <p:sldId id="1505" r:id="rId57"/>
    <p:sldId id="1366" r:id="rId58"/>
    <p:sldId id="1361" r:id="rId59"/>
    <p:sldId id="642" r:id="rId60"/>
    <p:sldId id="1466" r:id="rId61"/>
    <p:sldId id="1452" r:id="rId62"/>
    <p:sldId id="1397" r:id="rId63"/>
    <p:sldId id="1500" r:id="rId64"/>
    <p:sldId id="1499" r:id="rId65"/>
    <p:sldId id="1498" r:id="rId66"/>
  </p:sldIdLst>
  <p:sldSz cx="9145588" cy="5108575"/>
  <p:notesSz cx="6858000" cy="9144000"/>
  <p:defaultTex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09">
          <p15:clr>
            <a:srgbClr val="A4A3A4"/>
          </p15:clr>
        </p15:guide>
        <p15:guide id="2" pos="2880">
          <p15:clr>
            <a:srgbClr val="A4A3A4"/>
          </p15:clr>
        </p15:guide>
        <p15:guide id="3" orient="horz" pos="4321">
          <p15:clr>
            <a:srgbClr val="A4A3A4"/>
          </p15:clr>
        </p15:guide>
        <p15:guide id="4" pos="7729">
          <p15:clr>
            <a:srgbClr val="A4A3A4"/>
          </p15:clr>
        </p15:guide>
        <p15:guide id="5" orient="horz" pos="599">
          <p15:clr>
            <a:srgbClr val="A4A3A4"/>
          </p15:clr>
        </p15:guide>
        <p15:guide id="6" pos="1073">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F0E1"/>
    <a:srgbClr val="8FD9B5"/>
    <a:srgbClr val="733D4A"/>
    <a:srgbClr val="C7B1B7"/>
    <a:srgbClr val="FCE1E4"/>
    <a:srgbClr val="F9C4C9"/>
    <a:srgbClr val="F06B78"/>
    <a:srgbClr val="FADECF"/>
    <a:srgbClr val="F2AD87"/>
    <a:srgbClr val="F9D6C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594731-1BEB-7F46-FA1C-D543B77240A8}" v="226" dt="2021-09-16T19:46:52.919"/>
    <p1510:client id="{11DC3E80-4F3A-1069-9810-3DAA25E145A3}" v="61" dt="2021-09-22T14:20:11.177"/>
    <p1510:client id="{1CCEE726-7E95-2B4E-2A72-ACA97A8E91FA}" v="235" dt="2021-09-17T12:20:12.502"/>
    <p1510:client id="{354376A2-D591-37D7-41CE-F73D1D01F00A}" v="129" dt="2021-09-16T21:10:55.257"/>
    <p1510:client id="{359B0DD1-1758-E1B2-DCA5-48174F4924D4}" v="30" dt="2021-09-16T21:25:14.789"/>
    <p1510:client id="{4E1FDE38-C853-0059-6840-31C833BE785B}" v="13" dt="2021-09-16T18:37:02.522"/>
    <p1510:client id="{6D3EBEED-555A-BB13-6ECE-B3FB7307679B}" v="2708" dt="2021-09-17T12:31:49.293"/>
    <p1510:client id="{7EE7F7F2-F770-42B3-B2B7-9D747B734200}" v="7076" dt="2021-09-16T18:46:16.722"/>
    <p1510:client id="{80B422BD-8BD4-365D-3B54-07DFEF1A5D88}" v="1" dt="2021-09-16T22:42:06.144"/>
    <p1510:client id="{8363E3A1-24EF-C003-88F5-239132432B5E}" v="2838" dt="2021-09-17T11:55:43.872"/>
    <p1510:client id="{8693A1AA-4D08-CA7A-334C-0419FAB95B30}" v="2" dt="2021-09-27T11:09:23.379"/>
    <p1510:client id="{92333DDA-7EB6-AA73-A771-5A595EAF8839}" v="5" dt="2021-09-16T21:27:06.011"/>
    <p1510:client id="{97688D3C-954E-F8EC-E154-5C7047376004}" v="108" dt="2021-10-06T22:20:49.175"/>
    <p1510:client id="{9BC00196-1A4A-475D-938D-3419CCE7DC4B}" v="966" dt="2021-09-17T12:20:25.513"/>
    <p1510:client id="{A1D2B298-186D-18AF-3E66-B128B3D70175}" v="1816" dt="2021-09-17T11:42:20.330"/>
    <p1510:client id="{A5730116-8083-946E-9DA1-425DF7D32CD4}" v="3" dt="2021-09-28T06:37:18.822"/>
    <p1510:client id="{ABEF9369-F96A-5F52-07E4-B3BC4CC6AEF7}" v="5" dt="2021-09-16T20:32:12.607"/>
    <p1510:client id="{B9B51229-11DF-4FA9-BC3C-AFE9540661BE}" vWet="2" dt="2021-09-17T08:40:41.772"/>
    <p1510:client id="{C9CE243E-3F59-D82B-715A-B6467143E28A}" v="1" dt="2021-09-16T22:20:20.527"/>
    <p1510:client id="{EF226B45-4EE9-DC09-3137-0FC05EF3E694}" v="499" dt="2021-09-17T10:59:02.0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86860" autoAdjust="0"/>
  </p:normalViewPr>
  <p:slideViewPr>
    <p:cSldViewPr snapToGrid="0">
      <p:cViewPr varScale="1">
        <p:scale>
          <a:sx n="133" d="100"/>
          <a:sy n="133" d="100"/>
        </p:scale>
        <p:origin x="984" y="114"/>
      </p:cViewPr>
      <p:guideLst>
        <p:guide orient="horz" pos="1609"/>
        <p:guide pos="2880"/>
        <p:guide orient="horz" pos="4321"/>
        <p:guide pos="7729"/>
        <p:guide orient="horz" pos="599"/>
        <p:guide pos="1073"/>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14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slide" Target="slides/slide49.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notesMaster" Target="notesMasters/notesMaster1.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viewProps" Target="viewProps.xml"/><Relationship Id="rId14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yrind, Geir" userId="S::geir.myrind@skatteetaten.no::833f5870-fe31-4836-aff7-500141766b4f" providerId="AD" clId="Web-{97688D3C-954E-F8EC-E154-5C7047376004}"/>
    <pc:docChg chg="delSld modSld">
      <pc:chgData name="Myrind, Geir" userId="S::geir.myrind@skatteetaten.no::833f5870-fe31-4836-aff7-500141766b4f" providerId="AD" clId="Web-{97688D3C-954E-F8EC-E154-5C7047376004}" dt="2021-10-06T22:20:49.175" v="103"/>
      <pc:docMkLst>
        <pc:docMk/>
      </pc:docMkLst>
      <pc:sldChg chg="del">
        <pc:chgData name="Myrind, Geir" userId="S::geir.myrind@skatteetaten.no::833f5870-fe31-4836-aff7-500141766b4f" providerId="AD" clId="Web-{97688D3C-954E-F8EC-E154-5C7047376004}" dt="2021-10-06T22:20:28.284" v="96"/>
        <pc:sldMkLst>
          <pc:docMk/>
          <pc:sldMk cId="1308903130" sldId="308"/>
        </pc:sldMkLst>
      </pc:sldChg>
      <pc:sldChg chg="del">
        <pc:chgData name="Myrind, Geir" userId="S::geir.myrind@skatteetaten.no::833f5870-fe31-4836-aff7-500141766b4f" providerId="AD" clId="Web-{97688D3C-954E-F8EC-E154-5C7047376004}" dt="2021-10-06T22:20:30.565" v="98"/>
        <pc:sldMkLst>
          <pc:docMk/>
          <pc:sldMk cId="3671662748" sldId="447"/>
        </pc:sldMkLst>
      </pc:sldChg>
      <pc:sldChg chg="modSp">
        <pc:chgData name="Myrind, Geir" userId="S::geir.myrind@skatteetaten.no::833f5870-fe31-4836-aff7-500141766b4f" providerId="AD" clId="Web-{97688D3C-954E-F8EC-E154-5C7047376004}" dt="2021-10-06T22:20:19.752" v="95" actId="20577"/>
        <pc:sldMkLst>
          <pc:docMk/>
          <pc:sldMk cId="2783238388" sldId="1242"/>
        </pc:sldMkLst>
        <pc:spChg chg="mod">
          <ac:chgData name="Myrind, Geir" userId="S::geir.myrind@skatteetaten.no::833f5870-fe31-4836-aff7-500141766b4f" providerId="AD" clId="Web-{97688D3C-954E-F8EC-E154-5C7047376004}" dt="2021-10-06T22:20:19.752" v="95" actId="20577"/>
          <ac:spMkLst>
            <pc:docMk/>
            <pc:sldMk cId="2783238388" sldId="1242"/>
            <ac:spMk id="2" creationId="{9DC331A9-B59F-4169-852C-66E561DEC7FF}"/>
          </ac:spMkLst>
        </pc:spChg>
        <pc:picChg chg="mod">
          <ac:chgData name="Myrind, Geir" userId="S::geir.myrind@skatteetaten.no::833f5870-fe31-4836-aff7-500141766b4f" providerId="AD" clId="Web-{97688D3C-954E-F8EC-E154-5C7047376004}" dt="2021-10-06T22:19:30.579" v="29" actId="1076"/>
          <ac:picMkLst>
            <pc:docMk/>
            <pc:sldMk cId="2783238388" sldId="1242"/>
            <ac:picMk id="4" creationId="{97FE2B71-CD56-4343-B4F1-4763838896FC}"/>
          </ac:picMkLst>
        </pc:picChg>
      </pc:sldChg>
      <pc:sldChg chg="del">
        <pc:chgData name="Myrind, Geir" userId="S::geir.myrind@skatteetaten.no::833f5870-fe31-4836-aff7-500141766b4f" providerId="AD" clId="Web-{97688D3C-954E-F8EC-E154-5C7047376004}" dt="2021-10-06T22:20:30.565" v="100"/>
        <pc:sldMkLst>
          <pc:docMk/>
          <pc:sldMk cId="1485878983" sldId="1260"/>
        </pc:sldMkLst>
      </pc:sldChg>
      <pc:sldChg chg="del">
        <pc:chgData name="Myrind, Geir" userId="S::geir.myrind@skatteetaten.no::833f5870-fe31-4836-aff7-500141766b4f" providerId="AD" clId="Web-{97688D3C-954E-F8EC-E154-5C7047376004}" dt="2021-10-06T22:20:28.456" v="97"/>
        <pc:sldMkLst>
          <pc:docMk/>
          <pc:sldMk cId="609266136" sldId="1264"/>
        </pc:sldMkLst>
      </pc:sldChg>
      <pc:sldChg chg="del">
        <pc:chgData name="Myrind, Geir" userId="S::geir.myrind@skatteetaten.no::833f5870-fe31-4836-aff7-500141766b4f" providerId="AD" clId="Web-{97688D3C-954E-F8EC-E154-5C7047376004}" dt="2021-10-06T22:20:30.565" v="99"/>
        <pc:sldMkLst>
          <pc:docMk/>
          <pc:sldMk cId="1894992541" sldId="1270"/>
        </pc:sldMkLst>
      </pc:sldChg>
      <pc:sldChg chg="del">
        <pc:chgData name="Myrind, Geir" userId="S::geir.myrind@skatteetaten.no::833f5870-fe31-4836-aff7-500141766b4f" providerId="AD" clId="Web-{97688D3C-954E-F8EC-E154-5C7047376004}" dt="2021-10-06T22:20:49.175" v="103"/>
        <pc:sldMkLst>
          <pc:docMk/>
          <pc:sldMk cId="2892454014" sldId="1282"/>
        </pc:sldMkLst>
      </pc:sldChg>
      <pc:sldChg chg="del">
        <pc:chgData name="Myrind, Geir" userId="S::geir.myrind@skatteetaten.no::833f5870-fe31-4836-aff7-500141766b4f" providerId="AD" clId="Web-{97688D3C-954E-F8EC-E154-5C7047376004}" dt="2021-10-06T22:20:49.175" v="102"/>
        <pc:sldMkLst>
          <pc:docMk/>
          <pc:sldMk cId="3913134834" sldId="1291"/>
        </pc:sldMkLst>
      </pc:sldChg>
      <pc:sldChg chg="del">
        <pc:chgData name="Myrind, Geir" userId="S::geir.myrind@skatteetaten.no::833f5870-fe31-4836-aff7-500141766b4f" providerId="AD" clId="Web-{97688D3C-954E-F8EC-E154-5C7047376004}" dt="2021-10-06T22:20:42.847" v="101"/>
        <pc:sldMkLst>
          <pc:docMk/>
          <pc:sldMk cId="984846888" sldId="130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3562C6-B3F7-4032-9B7B-6E99911E77B9}" type="doc">
      <dgm:prSet loTypeId="urn:microsoft.com/office/officeart/2005/8/layout/chevron1" loCatId="process" qsTypeId="urn:microsoft.com/office/officeart/2005/8/quickstyle/simple1" qsCatId="simple" csTypeId="urn:microsoft.com/office/officeart/2005/8/colors/accent2_3" csCatId="accent2" phldr="1"/>
      <dgm:spPr/>
    </dgm:pt>
    <dgm:pt modelId="{F34548BD-7757-4C3A-A2A8-F337D562E700}">
      <dgm:prSet phldrT="[Tekst]"/>
      <dgm:spPr/>
      <dgm:t>
        <a:bodyPr/>
        <a:lstStyle/>
        <a:p>
          <a:r>
            <a:rPr lang="nb-NO"/>
            <a:t>Samle/etablere</a:t>
          </a:r>
        </a:p>
      </dgm:t>
    </dgm:pt>
    <dgm:pt modelId="{2859668A-B179-465A-A262-1EC496C64734}" type="parTrans" cxnId="{82245E9D-A56C-460F-8E58-2F8EA2F72D21}">
      <dgm:prSet/>
      <dgm:spPr/>
      <dgm:t>
        <a:bodyPr/>
        <a:lstStyle/>
        <a:p>
          <a:endParaRPr lang="nb-NO"/>
        </a:p>
      </dgm:t>
    </dgm:pt>
    <dgm:pt modelId="{47F0A7BC-18E8-47FE-B3B8-ED1C90BDB591}" type="sibTrans" cxnId="{82245E9D-A56C-460F-8E58-2F8EA2F72D21}">
      <dgm:prSet/>
      <dgm:spPr/>
      <dgm:t>
        <a:bodyPr/>
        <a:lstStyle/>
        <a:p>
          <a:endParaRPr lang="nb-NO"/>
        </a:p>
      </dgm:t>
    </dgm:pt>
    <dgm:pt modelId="{192D4E6B-C552-43DC-9611-205CDEA04DE5}">
      <dgm:prSet phldrT="[Tekst]"/>
      <dgm:spPr/>
      <dgm:t>
        <a:bodyPr/>
        <a:lstStyle/>
        <a:p>
          <a:r>
            <a:rPr lang="nb-NO"/>
            <a:t>Lagre og vedlikeholde</a:t>
          </a:r>
        </a:p>
      </dgm:t>
    </dgm:pt>
    <dgm:pt modelId="{F3A48129-44D8-4963-8AA1-B447036A8967}" type="parTrans" cxnId="{DB3CDD79-1290-43F2-B6A6-E6D324278943}">
      <dgm:prSet/>
      <dgm:spPr/>
      <dgm:t>
        <a:bodyPr/>
        <a:lstStyle/>
        <a:p>
          <a:endParaRPr lang="nb-NO"/>
        </a:p>
      </dgm:t>
    </dgm:pt>
    <dgm:pt modelId="{0A3757BD-E815-4879-BE0E-321BFD9150EC}" type="sibTrans" cxnId="{DB3CDD79-1290-43F2-B6A6-E6D324278943}">
      <dgm:prSet/>
      <dgm:spPr/>
      <dgm:t>
        <a:bodyPr/>
        <a:lstStyle/>
        <a:p>
          <a:endParaRPr lang="nb-NO"/>
        </a:p>
      </dgm:t>
    </dgm:pt>
    <dgm:pt modelId="{E27694E2-DE0C-48B7-9A86-498EE4985258}">
      <dgm:prSet phldrT="[Tekst]"/>
      <dgm:spPr/>
      <dgm:t>
        <a:bodyPr/>
        <a:lstStyle/>
        <a:p>
          <a:r>
            <a:rPr lang="nb-NO"/>
            <a:t>Bruke</a:t>
          </a:r>
        </a:p>
      </dgm:t>
    </dgm:pt>
    <dgm:pt modelId="{1F0CC413-4368-4709-A09D-3CE9805E1D86}" type="parTrans" cxnId="{C98ECED3-76C3-4F81-876C-D1C774137508}">
      <dgm:prSet/>
      <dgm:spPr/>
      <dgm:t>
        <a:bodyPr/>
        <a:lstStyle/>
        <a:p>
          <a:endParaRPr lang="nb-NO"/>
        </a:p>
      </dgm:t>
    </dgm:pt>
    <dgm:pt modelId="{0E21F323-BBA4-420C-A90B-5F8FCCC1F74A}" type="sibTrans" cxnId="{C98ECED3-76C3-4F81-876C-D1C774137508}">
      <dgm:prSet/>
      <dgm:spPr/>
      <dgm:t>
        <a:bodyPr/>
        <a:lstStyle/>
        <a:p>
          <a:endParaRPr lang="nb-NO"/>
        </a:p>
      </dgm:t>
    </dgm:pt>
    <dgm:pt modelId="{E837720C-904F-4158-A31D-9C6698B3C48C}" type="pres">
      <dgm:prSet presAssocID="{C63562C6-B3F7-4032-9B7B-6E99911E77B9}" presName="Name0" presStyleCnt="0">
        <dgm:presLayoutVars>
          <dgm:dir/>
          <dgm:animLvl val="lvl"/>
          <dgm:resizeHandles val="exact"/>
        </dgm:presLayoutVars>
      </dgm:prSet>
      <dgm:spPr/>
    </dgm:pt>
    <dgm:pt modelId="{171B7F7A-D882-4591-A48B-1F70C10A5A74}" type="pres">
      <dgm:prSet presAssocID="{F34548BD-7757-4C3A-A2A8-F337D562E700}" presName="parTxOnly" presStyleLbl="node1" presStyleIdx="0" presStyleCnt="3">
        <dgm:presLayoutVars>
          <dgm:chMax val="0"/>
          <dgm:chPref val="0"/>
          <dgm:bulletEnabled val="1"/>
        </dgm:presLayoutVars>
      </dgm:prSet>
      <dgm:spPr/>
      <dgm:t>
        <a:bodyPr/>
        <a:lstStyle/>
        <a:p>
          <a:endParaRPr lang="nb-NO"/>
        </a:p>
      </dgm:t>
    </dgm:pt>
    <dgm:pt modelId="{BCAAF991-B4E1-4B79-9C85-262403773F87}" type="pres">
      <dgm:prSet presAssocID="{47F0A7BC-18E8-47FE-B3B8-ED1C90BDB591}" presName="parTxOnlySpace" presStyleCnt="0"/>
      <dgm:spPr/>
    </dgm:pt>
    <dgm:pt modelId="{021CE691-805F-40EC-94E5-86F5DD72F8DD}" type="pres">
      <dgm:prSet presAssocID="{192D4E6B-C552-43DC-9611-205CDEA04DE5}" presName="parTxOnly" presStyleLbl="node1" presStyleIdx="1" presStyleCnt="3">
        <dgm:presLayoutVars>
          <dgm:chMax val="0"/>
          <dgm:chPref val="0"/>
          <dgm:bulletEnabled val="1"/>
        </dgm:presLayoutVars>
      </dgm:prSet>
      <dgm:spPr/>
      <dgm:t>
        <a:bodyPr/>
        <a:lstStyle/>
        <a:p>
          <a:endParaRPr lang="nb-NO"/>
        </a:p>
      </dgm:t>
    </dgm:pt>
    <dgm:pt modelId="{6643193E-FC2E-44C1-B8AB-862D0C3A8C8C}" type="pres">
      <dgm:prSet presAssocID="{0A3757BD-E815-4879-BE0E-321BFD9150EC}" presName="parTxOnlySpace" presStyleCnt="0"/>
      <dgm:spPr/>
    </dgm:pt>
    <dgm:pt modelId="{4880680C-D8B9-441B-ADBA-F2CCC7E2A51A}" type="pres">
      <dgm:prSet presAssocID="{E27694E2-DE0C-48B7-9A86-498EE4985258}" presName="parTxOnly" presStyleLbl="node1" presStyleIdx="2" presStyleCnt="3">
        <dgm:presLayoutVars>
          <dgm:chMax val="0"/>
          <dgm:chPref val="0"/>
          <dgm:bulletEnabled val="1"/>
        </dgm:presLayoutVars>
      </dgm:prSet>
      <dgm:spPr/>
      <dgm:t>
        <a:bodyPr/>
        <a:lstStyle/>
        <a:p>
          <a:endParaRPr lang="nb-NO"/>
        </a:p>
      </dgm:t>
    </dgm:pt>
  </dgm:ptLst>
  <dgm:cxnLst>
    <dgm:cxn modelId="{D9C9683B-309B-4B14-AE13-37FC2C885835}" type="presOf" srcId="{F34548BD-7757-4C3A-A2A8-F337D562E700}" destId="{171B7F7A-D882-4591-A48B-1F70C10A5A74}" srcOrd="0" destOrd="0" presId="urn:microsoft.com/office/officeart/2005/8/layout/chevron1"/>
    <dgm:cxn modelId="{D84F4D09-3194-49B3-959A-BAE0CC145002}" type="presOf" srcId="{E27694E2-DE0C-48B7-9A86-498EE4985258}" destId="{4880680C-D8B9-441B-ADBA-F2CCC7E2A51A}" srcOrd="0" destOrd="0" presId="urn:microsoft.com/office/officeart/2005/8/layout/chevron1"/>
    <dgm:cxn modelId="{DF40BCA7-58F1-4668-8D4C-F99F41AF9048}" type="presOf" srcId="{C63562C6-B3F7-4032-9B7B-6E99911E77B9}" destId="{E837720C-904F-4158-A31D-9C6698B3C48C}" srcOrd="0" destOrd="0" presId="urn:microsoft.com/office/officeart/2005/8/layout/chevron1"/>
    <dgm:cxn modelId="{C98ECED3-76C3-4F81-876C-D1C774137508}" srcId="{C63562C6-B3F7-4032-9B7B-6E99911E77B9}" destId="{E27694E2-DE0C-48B7-9A86-498EE4985258}" srcOrd="2" destOrd="0" parTransId="{1F0CC413-4368-4709-A09D-3CE9805E1D86}" sibTransId="{0E21F323-BBA4-420C-A90B-5F8FCCC1F74A}"/>
    <dgm:cxn modelId="{DB3CDD79-1290-43F2-B6A6-E6D324278943}" srcId="{C63562C6-B3F7-4032-9B7B-6E99911E77B9}" destId="{192D4E6B-C552-43DC-9611-205CDEA04DE5}" srcOrd="1" destOrd="0" parTransId="{F3A48129-44D8-4963-8AA1-B447036A8967}" sibTransId="{0A3757BD-E815-4879-BE0E-321BFD9150EC}"/>
    <dgm:cxn modelId="{508BC722-A599-4B44-B674-03C98A46FAFC}" type="presOf" srcId="{192D4E6B-C552-43DC-9611-205CDEA04DE5}" destId="{021CE691-805F-40EC-94E5-86F5DD72F8DD}" srcOrd="0" destOrd="0" presId="urn:microsoft.com/office/officeart/2005/8/layout/chevron1"/>
    <dgm:cxn modelId="{82245E9D-A56C-460F-8E58-2F8EA2F72D21}" srcId="{C63562C6-B3F7-4032-9B7B-6E99911E77B9}" destId="{F34548BD-7757-4C3A-A2A8-F337D562E700}" srcOrd="0" destOrd="0" parTransId="{2859668A-B179-465A-A262-1EC496C64734}" sibTransId="{47F0A7BC-18E8-47FE-B3B8-ED1C90BDB591}"/>
    <dgm:cxn modelId="{8DE15D3B-A6A8-4DC3-BB81-272940281FD7}" type="presParOf" srcId="{E837720C-904F-4158-A31D-9C6698B3C48C}" destId="{171B7F7A-D882-4591-A48B-1F70C10A5A74}" srcOrd="0" destOrd="0" presId="urn:microsoft.com/office/officeart/2005/8/layout/chevron1"/>
    <dgm:cxn modelId="{DFED2C74-4CE2-4AE2-8ABA-2EFE9E070DC1}" type="presParOf" srcId="{E837720C-904F-4158-A31D-9C6698B3C48C}" destId="{BCAAF991-B4E1-4B79-9C85-262403773F87}" srcOrd="1" destOrd="0" presId="urn:microsoft.com/office/officeart/2005/8/layout/chevron1"/>
    <dgm:cxn modelId="{C16E0524-CBDA-4E05-A75C-CE99F7B6DAF5}" type="presParOf" srcId="{E837720C-904F-4158-A31D-9C6698B3C48C}" destId="{021CE691-805F-40EC-94E5-86F5DD72F8DD}" srcOrd="2" destOrd="0" presId="urn:microsoft.com/office/officeart/2005/8/layout/chevron1"/>
    <dgm:cxn modelId="{92A6D422-A5A9-43BB-8E37-C35CCA8ADA51}" type="presParOf" srcId="{E837720C-904F-4158-A31D-9C6698B3C48C}" destId="{6643193E-FC2E-44C1-B8AB-862D0C3A8C8C}" srcOrd="3" destOrd="0" presId="urn:microsoft.com/office/officeart/2005/8/layout/chevron1"/>
    <dgm:cxn modelId="{720512E2-C7DA-4CCE-A038-AF00CB686709}" type="presParOf" srcId="{E837720C-904F-4158-A31D-9C6698B3C48C}" destId="{4880680C-D8B9-441B-ADBA-F2CCC7E2A51A}"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008008A-A7BA-4F5B-B587-9EB8D2D5FFD2}" type="doc">
      <dgm:prSet loTypeId="urn:microsoft.com/office/officeart/2005/8/layout/gear1" loCatId="relationship" qsTypeId="urn:microsoft.com/office/officeart/2005/8/quickstyle/simple1" qsCatId="simple" csTypeId="urn:microsoft.com/office/officeart/2005/8/colors/accent1_2" csCatId="accent1" phldr="1"/>
      <dgm:spPr/>
    </dgm:pt>
    <dgm:pt modelId="{16CAF8F7-F0B9-4370-805F-0EE83C747824}">
      <dgm:prSet phldrT="[Tekst]"/>
      <dgm:spPr>
        <a:solidFill>
          <a:srgbClr val="0070C0"/>
        </a:solidFill>
      </dgm:spPr>
      <dgm:t>
        <a:bodyPr/>
        <a:lstStyle/>
        <a:p>
          <a:r>
            <a:rPr lang="nb-NO" dirty="0"/>
            <a:t>Informasjon</a:t>
          </a:r>
        </a:p>
      </dgm:t>
    </dgm:pt>
    <dgm:pt modelId="{D1A721E5-2A92-4956-BE7B-F499659D0C77}" type="parTrans" cxnId="{EC126431-FFAF-406E-8B20-505CF87493E2}">
      <dgm:prSet/>
      <dgm:spPr/>
      <dgm:t>
        <a:bodyPr/>
        <a:lstStyle/>
        <a:p>
          <a:endParaRPr lang="nb-NO"/>
        </a:p>
      </dgm:t>
    </dgm:pt>
    <dgm:pt modelId="{20FC9A3C-8893-4B58-9341-AC44BE08D4BB}" type="sibTrans" cxnId="{EC126431-FFAF-406E-8B20-505CF87493E2}">
      <dgm:prSet/>
      <dgm:spPr/>
      <dgm:t>
        <a:bodyPr/>
        <a:lstStyle/>
        <a:p>
          <a:endParaRPr lang="nb-NO"/>
        </a:p>
      </dgm:t>
    </dgm:pt>
    <dgm:pt modelId="{25681DCD-272F-43DC-BAF7-188EF3DE475F}">
      <dgm:prSet phldrT="[Tekst]"/>
      <dgm:spPr/>
      <dgm:t>
        <a:bodyPr/>
        <a:lstStyle/>
        <a:p>
          <a:r>
            <a:rPr lang="nb-NO" dirty="0"/>
            <a:t>Prosess</a:t>
          </a:r>
        </a:p>
      </dgm:t>
    </dgm:pt>
    <dgm:pt modelId="{7EE5A570-5BA7-4847-A596-CA5FFE146EE1}" type="parTrans" cxnId="{3D03B0BF-0043-4BDD-9225-ED66B86C264A}">
      <dgm:prSet/>
      <dgm:spPr/>
      <dgm:t>
        <a:bodyPr/>
        <a:lstStyle/>
        <a:p>
          <a:endParaRPr lang="nb-NO"/>
        </a:p>
      </dgm:t>
    </dgm:pt>
    <dgm:pt modelId="{9C9E6262-86B4-4E3C-96DE-FC1DB2D6771F}" type="sibTrans" cxnId="{3D03B0BF-0043-4BDD-9225-ED66B86C264A}">
      <dgm:prSet/>
      <dgm:spPr/>
      <dgm:t>
        <a:bodyPr/>
        <a:lstStyle/>
        <a:p>
          <a:endParaRPr lang="nb-NO"/>
        </a:p>
      </dgm:t>
    </dgm:pt>
    <dgm:pt modelId="{EC56846E-9931-43B3-B354-83952D115AA0}">
      <dgm:prSet phldrT="[Tekst]"/>
      <dgm:spPr/>
      <dgm:t>
        <a:bodyPr/>
        <a:lstStyle/>
        <a:p>
          <a:r>
            <a:rPr lang="nb-NO" dirty="0"/>
            <a:t>Lov</a:t>
          </a:r>
        </a:p>
      </dgm:t>
    </dgm:pt>
    <dgm:pt modelId="{BEAF5188-3522-488A-883F-3AC96C97B5EA}" type="parTrans" cxnId="{5A4AEF33-F93A-4A99-A3FB-DD239342F8F2}">
      <dgm:prSet/>
      <dgm:spPr/>
      <dgm:t>
        <a:bodyPr/>
        <a:lstStyle/>
        <a:p>
          <a:endParaRPr lang="nb-NO"/>
        </a:p>
      </dgm:t>
    </dgm:pt>
    <dgm:pt modelId="{5E26FDBF-C26D-42CE-866A-42E77AE1646A}" type="sibTrans" cxnId="{5A4AEF33-F93A-4A99-A3FB-DD239342F8F2}">
      <dgm:prSet/>
      <dgm:spPr/>
      <dgm:t>
        <a:bodyPr/>
        <a:lstStyle/>
        <a:p>
          <a:endParaRPr lang="nb-NO"/>
        </a:p>
      </dgm:t>
    </dgm:pt>
    <dgm:pt modelId="{DB0F028F-8E00-4216-8DEE-E59283B1DC0E}" type="pres">
      <dgm:prSet presAssocID="{E008008A-A7BA-4F5B-B587-9EB8D2D5FFD2}" presName="composite" presStyleCnt="0">
        <dgm:presLayoutVars>
          <dgm:chMax val="3"/>
          <dgm:animLvl val="lvl"/>
          <dgm:resizeHandles val="exact"/>
        </dgm:presLayoutVars>
      </dgm:prSet>
      <dgm:spPr/>
    </dgm:pt>
    <dgm:pt modelId="{2E218001-2BB4-4D85-8594-0997EA2CF651}" type="pres">
      <dgm:prSet presAssocID="{16CAF8F7-F0B9-4370-805F-0EE83C747824}" presName="gear1" presStyleLbl="node1" presStyleIdx="0" presStyleCnt="3">
        <dgm:presLayoutVars>
          <dgm:chMax val="1"/>
          <dgm:bulletEnabled val="1"/>
        </dgm:presLayoutVars>
      </dgm:prSet>
      <dgm:spPr/>
      <dgm:t>
        <a:bodyPr/>
        <a:lstStyle/>
        <a:p>
          <a:endParaRPr lang="nb-NO"/>
        </a:p>
      </dgm:t>
    </dgm:pt>
    <dgm:pt modelId="{91C5EFED-FA23-4608-94ED-723201760582}" type="pres">
      <dgm:prSet presAssocID="{16CAF8F7-F0B9-4370-805F-0EE83C747824}" presName="gear1srcNode" presStyleLbl="node1" presStyleIdx="0" presStyleCnt="3"/>
      <dgm:spPr/>
      <dgm:t>
        <a:bodyPr/>
        <a:lstStyle/>
        <a:p>
          <a:endParaRPr lang="nb-NO"/>
        </a:p>
      </dgm:t>
    </dgm:pt>
    <dgm:pt modelId="{E42F3350-2721-4725-B9AA-D2B29AB57B98}" type="pres">
      <dgm:prSet presAssocID="{16CAF8F7-F0B9-4370-805F-0EE83C747824}" presName="gear1dstNode" presStyleLbl="node1" presStyleIdx="0" presStyleCnt="3"/>
      <dgm:spPr/>
      <dgm:t>
        <a:bodyPr/>
        <a:lstStyle/>
        <a:p>
          <a:endParaRPr lang="nb-NO"/>
        </a:p>
      </dgm:t>
    </dgm:pt>
    <dgm:pt modelId="{02E67DE1-1B34-435C-9A0A-587F39FFA593}" type="pres">
      <dgm:prSet presAssocID="{25681DCD-272F-43DC-BAF7-188EF3DE475F}" presName="gear2" presStyleLbl="node1" presStyleIdx="1" presStyleCnt="3">
        <dgm:presLayoutVars>
          <dgm:chMax val="1"/>
          <dgm:bulletEnabled val="1"/>
        </dgm:presLayoutVars>
      </dgm:prSet>
      <dgm:spPr/>
      <dgm:t>
        <a:bodyPr/>
        <a:lstStyle/>
        <a:p>
          <a:endParaRPr lang="nb-NO"/>
        </a:p>
      </dgm:t>
    </dgm:pt>
    <dgm:pt modelId="{F95B9855-53D0-4202-9BCB-DEE571D172A9}" type="pres">
      <dgm:prSet presAssocID="{25681DCD-272F-43DC-BAF7-188EF3DE475F}" presName="gear2srcNode" presStyleLbl="node1" presStyleIdx="1" presStyleCnt="3"/>
      <dgm:spPr/>
      <dgm:t>
        <a:bodyPr/>
        <a:lstStyle/>
        <a:p>
          <a:endParaRPr lang="nb-NO"/>
        </a:p>
      </dgm:t>
    </dgm:pt>
    <dgm:pt modelId="{263B0C83-2100-4EE1-9D29-BF3E500FBE65}" type="pres">
      <dgm:prSet presAssocID="{25681DCD-272F-43DC-BAF7-188EF3DE475F}" presName="gear2dstNode" presStyleLbl="node1" presStyleIdx="1" presStyleCnt="3"/>
      <dgm:spPr/>
      <dgm:t>
        <a:bodyPr/>
        <a:lstStyle/>
        <a:p>
          <a:endParaRPr lang="nb-NO"/>
        </a:p>
      </dgm:t>
    </dgm:pt>
    <dgm:pt modelId="{ABF099CF-0ED3-4743-8F48-E2A68A97B492}" type="pres">
      <dgm:prSet presAssocID="{EC56846E-9931-43B3-B354-83952D115AA0}" presName="gear3" presStyleLbl="node1" presStyleIdx="2" presStyleCnt="3"/>
      <dgm:spPr/>
      <dgm:t>
        <a:bodyPr/>
        <a:lstStyle/>
        <a:p>
          <a:endParaRPr lang="nb-NO"/>
        </a:p>
      </dgm:t>
    </dgm:pt>
    <dgm:pt modelId="{CB45C94F-2C43-4990-AF1C-AEC308019B84}" type="pres">
      <dgm:prSet presAssocID="{EC56846E-9931-43B3-B354-83952D115AA0}" presName="gear3tx" presStyleLbl="node1" presStyleIdx="2" presStyleCnt="3">
        <dgm:presLayoutVars>
          <dgm:chMax val="1"/>
          <dgm:bulletEnabled val="1"/>
        </dgm:presLayoutVars>
      </dgm:prSet>
      <dgm:spPr/>
      <dgm:t>
        <a:bodyPr/>
        <a:lstStyle/>
        <a:p>
          <a:endParaRPr lang="nb-NO"/>
        </a:p>
      </dgm:t>
    </dgm:pt>
    <dgm:pt modelId="{9F44AAC9-6965-473F-A5C6-84BD1222BE42}" type="pres">
      <dgm:prSet presAssocID="{EC56846E-9931-43B3-B354-83952D115AA0}" presName="gear3srcNode" presStyleLbl="node1" presStyleIdx="2" presStyleCnt="3"/>
      <dgm:spPr/>
      <dgm:t>
        <a:bodyPr/>
        <a:lstStyle/>
        <a:p>
          <a:endParaRPr lang="nb-NO"/>
        </a:p>
      </dgm:t>
    </dgm:pt>
    <dgm:pt modelId="{FADB8015-8292-47DF-A87B-7AF805D73EFA}" type="pres">
      <dgm:prSet presAssocID="{EC56846E-9931-43B3-B354-83952D115AA0}" presName="gear3dstNode" presStyleLbl="node1" presStyleIdx="2" presStyleCnt="3"/>
      <dgm:spPr/>
      <dgm:t>
        <a:bodyPr/>
        <a:lstStyle/>
        <a:p>
          <a:endParaRPr lang="nb-NO"/>
        </a:p>
      </dgm:t>
    </dgm:pt>
    <dgm:pt modelId="{562F4957-4224-4B9D-B207-3C1BF3ED5C21}" type="pres">
      <dgm:prSet presAssocID="{20FC9A3C-8893-4B58-9341-AC44BE08D4BB}" presName="connector1" presStyleLbl="sibTrans2D1" presStyleIdx="0" presStyleCnt="3"/>
      <dgm:spPr/>
      <dgm:t>
        <a:bodyPr/>
        <a:lstStyle/>
        <a:p>
          <a:endParaRPr lang="nb-NO"/>
        </a:p>
      </dgm:t>
    </dgm:pt>
    <dgm:pt modelId="{7A37BC43-25A2-422F-AA0D-CEBE00825E2A}" type="pres">
      <dgm:prSet presAssocID="{9C9E6262-86B4-4E3C-96DE-FC1DB2D6771F}" presName="connector2" presStyleLbl="sibTrans2D1" presStyleIdx="1" presStyleCnt="3"/>
      <dgm:spPr/>
      <dgm:t>
        <a:bodyPr/>
        <a:lstStyle/>
        <a:p>
          <a:endParaRPr lang="nb-NO"/>
        </a:p>
      </dgm:t>
    </dgm:pt>
    <dgm:pt modelId="{9FCD0542-134F-45F1-9691-478D869E567D}" type="pres">
      <dgm:prSet presAssocID="{5E26FDBF-C26D-42CE-866A-42E77AE1646A}" presName="connector3" presStyleLbl="sibTrans2D1" presStyleIdx="2" presStyleCnt="3"/>
      <dgm:spPr/>
      <dgm:t>
        <a:bodyPr/>
        <a:lstStyle/>
        <a:p>
          <a:endParaRPr lang="nb-NO"/>
        </a:p>
      </dgm:t>
    </dgm:pt>
  </dgm:ptLst>
  <dgm:cxnLst>
    <dgm:cxn modelId="{3D03B0BF-0043-4BDD-9225-ED66B86C264A}" srcId="{E008008A-A7BA-4F5B-B587-9EB8D2D5FFD2}" destId="{25681DCD-272F-43DC-BAF7-188EF3DE475F}" srcOrd="1" destOrd="0" parTransId="{7EE5A570-5BA7-4847-A596-CA5FFE146EE1}" sibTransId="{9C9E6262-86B4-4E3C-96DE-FC1DB2D6771F}"/>
    <dgm:cxn modelId="{5A4AEF33-F93A-4A99-A3FB-DD239342F8F2}" srcId="{E008008A-A7BA-4F5B-B587-9EB8D2D5FFD2}" destId="{EC56846E-9931-43B3-B354-83952D115AA0}" srcOrd="2" destOrd="0" parTransId="{BEAF5188-3522-488A-883F-3AC96C97B5EA}" sibTransId="{5E26FDBF-C26D-42CE-866A-42E77AE1646A}"/>
    <dgm:cxn modelId="{EEFBB5EF-2F5F-438E-B342-59F4E55D8924}" type="presOf" srcId="{25681DCD-272F-43DC-BAF7-188EF3DE475F}" destId="{F95B9855-53D0-4202-9BCB-DEE571D172A9}" srcOrd="1" destOrd="0" presId="urn:microsoft.com/office/officeart/2005/8/layout/gear1"/>
    <dgm:cxn modelId="{0BF5BD0C-E96B-4A31-B201-7D3A4168B8B3}" type="presOf" srcId="{EC56846E-9931-43B3-B354-83952D115AA0}" destId="{9F44AAC9-6965-473F-A5C6-84BD1222BE42}" srcOrd="2" destOrd="0" presId="urn:microsoft.com/office/officeart/2005/8/layout/gear1"/>
    <dgm:cxn modelId="{EC126431-FFAF-406E-8B20-505CF87493E2}" srcId="{E008008A-A7BA-4F5B-B587-9EB8D2D5FFD2}" destId="{16CAF8F7-F0B9-4370-805F-0EE83C747824}" srcOrd="0" destOrd="0" parTransId="{D1A721E5-2A92-4956-BE7B-F499659D0C77}" sibTransId="{20FC9A3C-8893-4B58-9341-AC44BE08D4BB}"/>
    <dgm:cxn modelId="{745A7A36-16AF-417E-9D48-407918AE311A}" type="presOf" srcId="{EC56846E-9931-43B3-B354-83952D115AA0}" destId="{ABF099CF-0ED3-4743-8F48-E2A68A97B492}" srcOrd="0" destOrd="0" presId="urn:microsoft.com/office/officeart/2005/8/layout/gear1"/>
    <dgm:cxn modelId="{694AB0E0-0716-457B-8C4F-1DCD4489FE8A}" type="presOf" srcId="{EC56846E-9931-43B3-B354-83952D115AA0}" destId="{FADB8015-8292-47DF-A87B-7AF805D73EFA}" srcOrd="3" destOrd="0" presId="urn:microsoft.com/office/officeart/2005/8/layout/gear1"/>
    <dgm:cxn modelId="{32F14643-C769-44F5-BB80-1C536C657443}" type="presOf" srcId="{16CAF8F7-F0B9-4370-805F-0EE83C747824}" destId="{91C5EFED-FA23-4608-94ED-723201760582}" srcOrd="1" destOrd="0" presId="urn:microsoft.com/office/officeart/2005/8/layout/gear1"/>
    <dgm:cxn modelId="{A6BE302A-78BA-47D8-83D1-BA50A1E0AAD9}" type="presOf" srcId="{20FC9A3C-8893-4B58-9341-AC44BE08D4BB}" destId="{562F4957-4224-4B9D-B207-3C1BF3ED5C21}" srcOrd="0" destOrd="0" presId="urn:microsoft.com/office/officeart/2005/8/layout/gear1"/>
    <dgm:cxn modelId="{164DEC6C-AA13-48F6-8336-10027E19B20E}" type="presOf" srcId="{E008008A-A7BA-4F5B-B587-9EB8D2D5FFD2}" destId="{DB0F028F-8E00-4216-8DEE-E59283B1DC0E}" srcOrd="0" destOrd="0" presId="urn:microsoft.com/office/officeart/2005/8/layout/gear1"/>
    <dgm:cxn modelId="{A6D1DC0F-6DBF-4FF2-A1D2-6D34B0F26D66}" type="presOf" srcId="{9C9E6262-86B4-4E3C-96DE-FC1DB2D6771F}" destId="{7A37BC43-25A2-422F-AA0D-CEBE00825E2A}" srcOrd="0" destOrd="0" presId="urn:microsoft.com/office/officeart/2005/8/layout/gear1"/>
    <dgm:cxn modelId="{562F6BE4-F812-4EC5-BA5A-E7C94CD583BE}" type="presOf" srcId="{16CAF8F7-F0B9-4370-805F-0EE83C747824}" destId="{2E218001-2BB4-4D85-8594-0997EA2CF651}" srcOrd="0" destOrd="0" presId="urn:microsoft.com/office/officeart/2005/8/layout/gear1"/>
    <dgm:cxn modelId="{6582BD35-F040-403C-B653-77F2241181BB}" type="presOf" srcId="{25681DCD-272F-43DC-BAF7-188EF3DE475F}" destId="{263B0C83-2100-4EE1-9D29-BF3E500FBE65}" srcOrd="2" destOrd="0" presId="urn:microsoft.com/office/officeart/2005/8/layout/gear1"/>
    <dgm:cxn modelId="{121D8F87-72DD-4318-8B44-0998B20528FC}" type="presOf" srcId="{16CAF8F7-F0B9-4370-805F-0EE83C747824}" destId="{E42F3350-2721-4725-B9AA-D2B29AB57B98}" srcOrd="2" destOrd="0" presId="urn:microsoft.com/office/officeart/2005/8/layout/gear1"/>
    <dgm:cxn modelId="{C24967A9-5C77-42E6-9E79-487F077B545C}" type="presOf" srcId="{25681DCD-272F-43DC-BAF7-188EF3DE475F}" destId="{02E67DE1-1B34-435C-9A0A-587F39FFA593}" srcOrd="0" destOrd="0" presId="urn:microsoft.com/office/officeart/2005/8/layout/gear1"/>
    <dgm:cxn modelId="{6690B9DA-D724-4973-9597-89983A13C3F7}" type="presOf" srcId="{5E26FDBF-C26D-42CE-866A-42E77AE1646A}" destId="{9FCD0542-134F-45F1-9691-478D869E567D}" srcOrd="0" destOrd="0" presId="urn:microsoft.com/office/officeart/2005/8/layout/gear1"/>
    <dgm:cxn modelId="{C1FBBF65-0CC3-4AFA-AB6D-1A2EB64BA258}" type="presOf" srcId="{EC56846E-9931-43B3-B354-83952D115AA0}" destId="{CB45C94F-2C43-4990-AF1C-AEC308019B84}" srcOrd="1" destOrd="0" presId="urn:microsoft.com/office/officeart/2005/8/layout/gear1"/>
    <dgm:cxn modelId="{3874482F-ADCA-4F13-9628-E7162814BA16}" type="presParOf" srcId="{DB0F028F-8E00-4216-8DEE-E59283B1DC0E}" destId="{2E218001-2BB4-4D85-8594-0997EA2CF651}" srcOrd="0" destOrd="0" presId="urn:microsoft.com/office/officeart/2005/8/layout/gear1"/>
    <dgm:cxn modelId="{03BBD815-48F4-4A9A-A359-1F9FA6EB0C9A}" type="presParOf" srcId="{DB0F028F-8E00-4216-8DEE-E59283B1DC0E}" destId="{91C5EFED-FA23-4608-94ED-723201760582}" srcOrd="1" destOrd="0" presId="urn:microsoft.com/office/officeart/2005/8/layout/gear1"/>
    <dgm:cxn modelId="{5269DC60-254D-4CA7-B4BB-3E850E4F2D20}" type="presParOf" srcId="{DB0F028F-8E00-4216-8DEE-E59283B1DC0E}" destId="{E42F3350-2721-4725-B9AA-D2B29AB57B98}" srcOrd="2" destOrd="0" presId="urn:microsoft.com/office/officeart/2005/8/layout/gear1"/>
    <dgm:cxn modelId="{113BA803-3549-49FA-B556-7B04EB31BD15}" type="presParOf" srcId="{DB0F028F-8E00-4216-8DEE-E59283B1DC0E}" destId="{02E67DE1-1B34-435C-9A0A-587F39FFA593}" srcOrd="3" destOrd="0" presId="urn:microsoft.com/office/officeart/2005/8/layout/gear1"/>
    <dgm:cxn modelId="{770EB393-5C7E-4E55-9D8F-4741BAB2958A}" type="presParOf" srcId="{DB0F028F-8E00-4216-8DEE-E59283B1DC0E}" destId="{F95B9855-53D0-4202-9BCB-DEE571D172A9}" srcOrd="4" destOrd="0" presId="urn:microsoft.com/office/officeart/2005/8/layout/gear1"/>
    <dgm:cxn modelId="{237FA848-F60D-4185-9D9E-9E7A2244815D}" type="presParOf" srcId="{DB0F028F-8E00-4216-8DEE-E59283B1DC0E}" destId="{263B0C83-2100-4EE1-9D29-BF3E500FBE65}" srcOrd="5" destOrd="0" presId="urn:microsoft.com/office/officeart/2005/8/layout/gear1"/>
    <dgm:cxn modelId="{1EE52893-1EC7-481E-8349-458411DEA0B9}" type="presParOf" srcId="{DB0F028F-8E00-4216-8DEE-E59283B1DC0E}" destId="{ABF099CF-0ED3-4743-8F48-E2A68A97B492}" srcOrd="6" destOrd="0" presId="urn:microsoft.com/office/officeart/2005/8/layout/gear1"/>
    <dgm:cxn modelId="{6745C714-3300-464C-8F51-9126267111C2}" type="presParOf" srcId="{DB0F028F-8E00-4216-8DEE-E59283B1DC0E}" destId="{CB45C94F-2C43-4990-AF1C-AEC308019B84}" srcOrd="7" destOrd="0" presId="urn:microsoft.com/office/officeart/2005/8/layout/gear1"/>
    <dgm:cxn modelId="{784AADEE-53E5-4B92-8226-BE15B8E1683F}" type="presParOf" srcId="{DB0F028F-8E00-4216-8DEE-E59283B1DC0E}" destId="{9F44AAC9-6965-473F-A5C6-84BD1222BE42}" srcOrd="8" destOrd="0" presId="urn:microsoft.com/office/officeart/2005/8/layout/gear1"/>
    <dgm:cxn modelId="{D9D9880C-DBDA-415B-8655-B5A0CB95C39C}" type="presParOf" srcId="{DB0F028F-8E00-4216-8DEE-E59283B1DC0E}" destId="{FADB8015-8292-47DF-A87B-7AF805D73EFA}" srcOrd="9" destOrd="0" presId="urn:microsoft.com/office/officeart/2005/8/layout/gear1"/>
    <dgm:cxn modelId="{CB9BBC12-8B7F-4AE6-959D-305DB1B79C4C}" type="presParOf" srcId="{DB0F028F-8E00-4216-8DEE-E59283B1DC0E}" destId="{562F4957-4224-4B9D-B207-3C1BF3ED5C21}" srcOrd="10" destOrd="0" presId="urn:microsoft.com/office/officeart/2005/8/layout/gear1"/>
    <dgm:cxn modelId="{7E065621-F3B6-4E0C-9EA5-13487DB65FE7}" type="presParOf" srcId="{DB0F028F-8E00-4216-8DEE-E59283B1DC0E}" destId="{7A37BC43-25A2-422F-AA0D-CEBE00825E2A}" srcOrd="11" destOrd="0" presId="urn:microsoft.com/office/officeart/2005/8/layout/gear1"/>
    <dgm:cxn modelId="{282AE530-5211-49C8-8E01-F544B3BBE277}" type="presParOf" srcId="{DB0F028F-8E00-4216-8DEE-E59283B1DC0E}" destId="{9FCD0542-134F-45F1-9691-478D869E567D}" srcOrd="12" destOrd="0" presId="urn:microsoft.com/office/officeart/2005/8/layout/gear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1B7F7A-D882-4591-A48B-1F70C10A5A74}">
      <dsp:nvSpPr>
        <dsp:cNvPr id="0" name=""/>
        <dsp:cNvSpPr/>
      </dsp:nvSpPr>
      <dsp:spPr>
        <a:xfrm>
          <a:off x="1918" y="337603"/>
          <a:ext cx="2337005" cy="934802"/>
        </a:xfrm>
        <a:prstGeom prst="chevron">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nb-NO" sz="1500" kern="1200"/>
            <a:t>Samle/etablere</a:t>
          </a:r>
        </a:p>
      </dsp:txBody>
      <dsp:txXfrm>
        <a:off x="469319" y="337603"/>
        <a:ext cx="1402203" cy="934802"/>
      </dsp:txXfrm>
    </dsp:sp>
    <dsp:sp modelId="{021CE691-805F-40EC-94E5-86F5DD72F8DD}">
      <dsp:nvSpPr>
        <dsp:cNvPr id="0" name=""/>
        <dsp:cNvSpPr/>
      </dsp:nvSpPr>
      <dsp:spPr>
        <a:xfrm>
          <a:off x="2105223" y="337603"/>
          <a:ext cx="2337005" cy="934802"/>
        </a:xfrm>
        <a:prstGeom prst="chevron">
          <a:avLst/>
        </a:prstGeom>
        <a:solidFill>
          <a:schemeClr val="accent2">
            <a:shade val="80000"/>
            <a:hueOff val="0"/>
            <a:satOff val="1186"/>
            <a:lumOff val="105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nb-NO" sz="1500" kern="1200"/>
            <a:t>Lagre og vedlikeholde</a:t>
          </a:r>
        </a:p>
      </dsp:txBody>
      <dsp:txXfrm>
        <a:off x="2572624" y="337603"/>
        <a:ext cx="1402203" cy="934802"/>
      </dsp:txXfrm>
    </dsp:sp>
    <dsp:sp modelId="{4880680C-D8B9-441B-ADBA-F2CCC7E2A51A}">
      <dsp:nvSpPr>
        <dsp:cNvPr id="0" name=""/>
        <dsp:cNvSpPr/>
      </dsp:nvSpPr>
      <dsp:spPr>
        <a:xfrm>
          <a:off x="4208528" y="337603"/>
          <a:ext cx="2337005" cy="934802"/>
        </a:xfrm>
        <a:prstGeom prst="chevron">
          <a:avLst/>
        </a:prstGeom>
        <a:solidFill>
          <a:schemeClr val="accent2">
            <a:shade val="80000"/>
            <a:hueOff val="0"/>
            <a:satOff val="2373"/>
            <a:lumOff val="211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lvl="0" algn="ctr" defTabSz="666750">
            <a:lnSpc>
              <a:spcPct val="90000"/>
            </a:lnSpc>
            <a:spcBef>
              <a:spcPct val="0"/>
            </a:spcBef>
            <a:spcAft>
              <a:spcPct val="35000"/>
            </a:spcAft>
          </a:pPr>
          <a:r>
            <a:rPr lang="nb-NO" sz="1500" kern="1200"/>
            <a:t>Bruke</a:t>
          </a:r>
        </a:p>
      </dsp:txBody>
      <dsp:txXfrm>
        <a:off x="4675929" y="337603"/>
        <a:ext cx="1402203" cy="9348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218001-2BB4-4D85-8594-0997EA2CF651}">
      <dsp:nvSpPr>
        <dsp:cNvPr id="0" name=""/>
        <dsp:cNvSpPr/>
      </dsp:nvSpPr>
      <dsp:spPr>
        <a:xfrm>
          <a:off x="1135989" y="611733"/>
          <a:ext cx="747674" cy="747674"/>
        </a:xfrm>
        <a:prstGeom prst="gear9">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Informasjon</a:t>
          </a:r>
        </a:p>
      </dsp:txBody>
      <dsp:txXfrm>
        <a:off x="1286305" y="786872"/>
        <a:ext cx="447042" cy="384320"/>
      </dsp:txXfrm>
    </dsp:sp>
    <dsp:sp modelId="{02E67DE1-1B34-435C-9A0A-587F39FFA593}">
      <dsp:nvSpPr>
        <dsp:cNvPr id="0" name=""/>
        <dsp:cNvSpPr/>
      </dsp:nvSpPr>
      <dsp:spPr>
        <a:xfrm>
          <a:off x="700979" y="435010"/>
          <a:ext cx="543763" cy="543763"/>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Prosess</a:t>
          </a:r>
        </a:p>
      </dsp:txBody>
      <dsp:txXfrm>
        <a:off x="837873" y="572731"/>
        <a:ext cx="269975" cy="268321"/>
      </dsp:txXfrm>
    </dsp:sp>
    <dsp:sp modelId="{ABF099CF-0ED3-4743-8F48-E2A68A97B492}">
      <dsp:nvSpPr>
        <dsp:cNvPr id="0" name=""/>
        <dsp:cNvSpPr/>
      </dsp:nvSpPr>
      <dsp:spPr>
        <a:xfrm rot="20700000">
          <a:off x="1005541" y="59869"/>
          <a:ext cx="532776" cy="532776"/>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dsp:txBody>
      <dsp:txXfrm rot="-20700000">
        <a:off x="1122395" y="176723"/>
        <a:ext cx="299069" cy="299069"/>
      </dsp:txXfrm>
    </dsp:sp>
    <dsp:sp modelId="{562F4957-4224-4B9D-B207-3C1BF3ED5C21}">
      <dsp:nvSpPr>
        <dsp:cNvPr id="0" name=""/>
        <dsp:cNvSpPr/>
      </dsp:nvSpPr>
      <dsp:spPr>
        <a:xfrm>
          <a:off x="1051879" y="513077"/>
          <a:ext cx="957023" cy="957023"/>
        </a:xfrm>
        <a:prstGeom prst="circularArrow">
          <a:avLst>
            <a:gd name="adj1" fmla="val 4687"/>
            <a:gd name="adj2" fmla="val 299029"/>
            <a:gd name="adj3" fmla="val 2354402"/>
            <a:gd name="adj4" fmla="val 16269079"/>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A37BC43-25A2-422F-AA0D-CEBE00825E2A}">
      <dsp:nvSpPr>
        <dsp:cNvPr id="0" name=""/>
        <dsp:cNvSpPr/>
      </dsp:nvSpPr>
      <dsp:spPr>
        <a:xfrm>
          <a:off x="604679" y="326862"/>
          <a:ext cx="695337" cy="695337"/>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FCD0542-134F-45F1-9691-478D869E567D}">
      <dsp:nvSpPr>
        <dsp:cNvPr id="0" name=""/>
        <dsp:cNvSpPr/>
      </dsp:nvSpPr>
      <dsp:spPr>
        <a:xfrm>
          <a:off x="882305" y="-44662"/>
          <a:ext cx="749713" cy="749713"/>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Plassholder for dato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CA5EDE3-ABDA-4E85-BE0F-6861461DE2DD}" type="datetimeFigureOut">
              <a:rPr lang="en-US" smtClean="0"/>
              <a:t>10/13/2021</a:t>
            </a:fld>
            <a:endParaRPr lang="en-US"/>
          </a:p>
        </p:txBody>
      </p:sp>
      <p:sp>
        <p:nvSpPr>
          <p:cNvPr id="4" name="Plassholder for bunn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Plassholder for lysbilde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AF3A3A4-92B8-456C-8F1D-F4B8E5B54AC6}" type="slidenum">
              <a:rPr lang="en-US" smtClean="0"/>
              <a:t>‹#›</a:t>
            </a:fld>
            <a:endParaRPr lang="en-US"/>
          </a:p>
        </p:txBody>
      </p:sp>
    </p:spTree>
    <p:extLst>
      <p:ext uri="{BB962C8B-B14F-4D97-AF65-F5344CB8AC3E}">
        <p14:creationId xmlns:p14="http://schemas.microsoft.com/office/powerpoint/2010/main" val="28897358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5158A-F1B8-4E91-813C-52DE59526D9A}" type="datetimeFigureOut">
              <a:rPr lang="nb-NO" smtClean="0"/>
              <a:t>13.10.2021</a:t>
            </a:fld>
            <a:endParaRPr lang="nb-NO"/>
          </a:p>
        </p:txBody>
      </p:sp>
      <p:sp>
        <p:nvSpPr>
          <p:cNvPr id="4" name="Plassholder for lysbilde 3"/>
          <p:cNvSpPr>
            <a:spLocks noGrp="1" noRot="1" noChangeAspect="1"/>
          </p:cNvSpPr>
          <p:nvPr>
            <p:ph type="sldImg" idx="2"/>
          </p:nvPr>
        </p:nvSpPr>
        <p:spPr>
          <a:xfrm>
            <a:off x="666750" y="1143000"/>
            <a:ext cx="55245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2A0872-C380-4561-BB86-44E3F0E0336C}" type="slidenum">
              <a:rPr lang="nb-NO" smtClean="0"/>
              <a:t>‹#›</a:t>
            </a:fld>
            <a:endParaRPr lang="nb-NO"/>
          </a:p>
        </p:txBody>
      </p:sp>
    </p:spTree>
    <p:extLst>
      <p:ext uri="{BB962C8B-B14F-4D97-AF65-F5344CB8AC3E}">
        <p14:creationId xmlns:p14="http://schemas.microsoft.com/office/powerpoint/2010/main" val="2133615649"/>
      </p:ext>
    </p:extLst>
  </p:cSld>
  <p:clrMap bg1="lt1" tx1="dk1" bg2="lt2" tx2="dk2" accent1="accent1" accent2="accent2" accent3="accent3" accent4="accent4" accent5="accent5" accent6="accent6" hlink="hlink" folHlink="folHlink"/>
  <p:notesStyle>
    <a:lvl1pPr marL="0" algn="l" defTabSz="683951" rtl="0" eaLnBrk="1" latinLnBrk="0" hangingPunct="1">
      <a:defRPr sz="900" kern="1200">
        <a:solidFill>
          <a:schemeClr val="tx1"/>
        </a:solidFill>
        <a:latin typeface="+mn-lt"/>
        <a:ea typeface="+mn-ea"/>
        <a:cs typeface="+mn-cs"/>
      </a:defRPr>
    </a:lvl1pPr>
    <a:lvl2pPr marL="341975" algn="l" defTabSz="683951" rtl="0" eaLnBrk="1" latinLnBrk="0" hangingPunct="1">
      <a:defRPr sz="900" kern="1200">
        <a:solidFill>
          <a:schemeClr val="tx1"/>
        </a:solidFill>
        <a:latin typeface="+mn-lt"/>
        <a:ea typeface="+mn-ea"/>
        <a:cs typeface="+mn-cs"/>
      </a:defRPr>
    </a:lvl2pPr>
    <a:lvl3pPr marL="683951" algn="l" defTabSz="683951" rtl="0" eaLnBrk="1" latinLnBrk="0" hangingPunct="1">
      <a:defRPr sz="900" kern="1200">
        <a:solidFill>
          <a:schemeClr val="tx1"/>
        </a:solidFill>
        <a:latin typeface="+mn-lt"/>
        <a:ea typeface="+mn-ea"/>
        <a:cs typeface="+mn-cs"/>
      </a:defRPr>
    </a:lvl3pPr>
    <a:lvl4pPr marL="1025927" algn="l" defTabSz="683951" rtl="0" eaLnBrk="1" latinLnBrk="0" hangingPunct="1">
      <a:defRPr sz="900" kern="1200">
        <a:solidFill>
          <a:schemeClr val="tx1"/>
        </a:solidFill>
        <a:latin typeface="+mn-lt"/>
        <a:ea typeface="+mn-ea"/>
        <a:cs typeface="+mn-cs"/>
      </a:defRPr>
    </a:lvl4pPr>
    <a:lvl5pPr marL="1367903" algn="l" defTabSz="683951" rtl="0" eaLnBrk="1" latinLnBrk="0" hangingPunct="1">
      <a:defRPr sz="900" kern="1200">
        <a:solidFill>
          <a:schemeClr val="tx1"/>
        </a:solidFill>
        <a:latin typeface="+mn-lt"/>
        <a:ea typeface="+mn-ea"/>
        <a:cs typeface="+mn-cs"/>
      </a:defRPr>
    </a:lvl5pPr>
    <a:lvl6pPr marL="1709878" algn="l" defTabSz="683951" rtl="0" eaLnBrk="1" latinLnBrk="0" hangingPunct="1">
      <a:defRPr sz="900" kern="1200">
        <a:solidFill>
          <a:schemeClr val="tx1"/>
        </a:solidFill>
        <a:latin typeface="+mn-lt"/>
        <a:ea typeface="+mn-ea"/>
        <a:cs typeface="+mn-cs"/>
      </a:defRPr>
    </a:lvl6pPr>
    <a:lvl7pPr marL="2051855" algn="l" defTabSz="683951" rtl="0" eaLnBrk="1" latinLnBrk="0" hangingPunct="1">
      <a:defRPr sz="900" kern="1200">
        <a:solidFill>
          <a:schemeClr val="tx1"/>
        </a:solidFill>
        <a:latin typeface="+mn-lt"/>
        <a:ea typeface="+mn-ea"/>
        <a:cs typeface="+mn-cs"/>
      </a:defRPr>
    </a:lvl7pPr>
    <a:lvl8pPr marL="2393831" algn="l" defTabSz="683951" rtl="0" eaLnBrk="1" latinLnBrk="0" hangingPunct="1">
      <a:defRPr sz="900" kern="1200">
        <a:solidFill>
          <a:schemeClr val="tx1"/>
        </a:solidFill>
        <a:latin typeface="+mn-lt"/>
        <a:ea typeface="+mn-ea"/>
        <a:cs typeface="+mn-cs"/>
      </a:defRPr>
    </a:lvl8pPr>
    <a:lvl9pPr marL="2735806" algn="l" defTabSz="683951"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lang="nb-NO" dirty="0" smtClean="0"/>
              <a:t>Hvorfor er Skatteetaten til?</a:t>
            </a:r>
          </a:p>
          <a:p>
            <a:pPr marL="0" marR="0" lvl="0" indent="0" algn="l" defTabSz="683951" rtl="0" eaLnBrk="1" fontAlgn="auto" latinLnBrk="0" hangingPunct="1">
              <a:lnSpc>
                <a:spcPct val="100000"/>
              </a:lnSpc>
              <a:spcBef>
                <a:spcPts val="0"/>
              </a:spcBef>
              <a:spcAft>
                <a:spcPts val="0"/>
              </a:spcAft>
              <a:buClrTx/>
              <a:buSzTx/>
              <a:buFontTx/>
              <a:buNone/>
              <a:tabLst/>
              <a:defRPr/>
            </a:pPr>
            <a:endParaRPr lang="nb-NO" sz="900" kern="1200" dirty="0" smtClean="0">
              <a:solidFill>
                <a:schemeClr val="tx1"/>
              </a:solidFill>
              <a:effectLst/>
              <a:latin typeface="+mn-lt"/>
              <a:ea typeface="+mn-ea"/>
              <a:cs typeface="+mn-cs"/>
            </a:endParaRPr>
          </a:p>
          <a:p>
            <a:pPr marL="0" marR="0" lvl="0" indent="0" algn="l" defTabSz="683951" rtl="0" eaLnBrk="1" fontAlgn="auto" latinLnBrk="0" hangingPunct="1">
              <a:lnSpc>
                <a:spcPct val="100000"/>
              </a:lnSpc>
              <a:spcBef>
                <a:spcPts val="0"/>
              </a:spcBef>
              <a:spcAft>
                <a:spcPts val="0"/>
              </a:spcAft>
              <a:buClrTx/>
              <a:buSzTx/>
              <a:buFontTx/>
              <a:buNone/>
              <a:tabLst/>
              <a:defRPr/>
            </a:pPr>
            <a:r>
              <a:rPr lang="nb-NO" sz="900" kern="1200" dirty="0" smtClean="0">
                <a:solidFill>
                  <a:schemeClr val="tx1"/>
                </a:solidFill>
                <a:effectLst/>
                <a:latin typeface="+mn-lt"/>
                <a:ea typeface="+mn-ea"/>
                <a:cs typeface="+mn-cs"/>
              </a:rPr>
              <a:t>Vi er fundamentet for samfunnet vårt. Selv små endringer her gir store effekter for samfunnet.</a:t>
            </a:r>
          </a:p>
          <a:p>
            <a:r>
              <a:rPr lang="nb-NO" dirty="0" smtClean="0"/>
              <a:t>Vi har løst dette veldig bra, men utviklingen rundt oss akselererer</a:t>
            </a:r>
            <a:r>
              <a:rPr lang="nb-NO" baseline="0" dirty="0" smtClean="0"/>
              <a:t> i ulike retninger og det går fortere enn før!</a:t>
            </a:r>
            <a:endParaRPr lang="nb-NO" dirty="0" smtClean="0"/>
          </a:p>
          <a:p>
            <a:endParaRPr lang="nb-NO" dirty="0" smtClean="0"/>
          </a:p>
          <a:p>
            <a:r>
              <a:rPr lang="nb-NO" dirty="0" smtClean="0"/>
              <a:t>Vi står foran krevende utfordringer og store endringer, men det har Skatteetaten gjort før. Da har vi,</a:t>
            </a:r>
            <a:r>
              <a:rPr lang="nb-NO" baseline="0" dirty="0" smtClean="0"/>
              <a:t> som nå, funnet gode løsninger. Jeg er trygg på at den strategien og de planene vi skal diskutere de neste dagene og ukene gir oss den retningen vi trenger for å sikre finansieringen av velferdsstaten også i fremtiden!</a:t>
            </a:r>
            <a:endParaRPr lang="nb-NO"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3073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dirty="0" smtClean="0"/>
              <a:t>Challenges</a:t>
            </a:r>
          </a:p>
          <a:p>
            <a:r>
              <a:rPr lang="en-GB" dirty="0" smtClean="0"/>
              <a:t>- Tax avoidance Double Irish</a:t>
            </a:r>
            <a:r>
              <a:rPr lang="en-GB" baseline="0" dirty="0" smtClean="0"/>
              <a:t> with a Dutch Sandwich</a:t>
            </a:r>
          </a:p>
          <a:p>
            <a:r>
              <a:rPr lang="en-GB" baseline="0" dirty="0" smtClean="0"/>
              <a:t>- Fraud with consumption and origin taxes</a:t>
            </a:r>
          </a:p>
          <a:p>
            <a:r>
              <a:rPr lang="en-GB" baseline="0" dirty="0" smtClean="0"/>
              <a:t>- Sharing company protecting data</a:t>
            </a:r>
          </a:p>
          <a:p>
            <a:r>
              <a:rPr lang="en-GB" baseline="0" dirty="0" smtClean="0"/>
              <a:t>Possibilities</a:t>
            </a:r>
          </a:p>
          <a:p>
            <a:r>
              <a:rPr lang="en-GB" dirty="0" smtClean="0"/>
              <a:t>- </a:t>
            </a:r>
            <a:r>
              <a:rPr lang="en-GB" dirty="0" err="1" smtClean="0"/>
              <a:t>Exhange</a:t>
            </a:r>
            <a:r>
              <a:rPr lang="en-GB" dirty="0" smtClean="0"/>
              <a:t> data with third parties</a:t>
            </a:r>
          </a:p>
          <a:p>
            <a:r>
              <a:rPr lang="en-GB" dirty="0" smtClean="0"/>
              <a:t>- Near</a:t>
            </a:r>
            <a:r>
              <a:rPr lang="en-GB" baseline="0" dirty="0" smtClean="0"/>
              <a:t> real-time communication</a:t>
            </a:r>
          </a:p>
          <a:p>
            <a:pPr marL="0" indent="0">
              <a:buFontTx/>
              <a:buNone/>
            </a:pPr>
            <a:r>
              <a:rPr lang="en-GB" dirty="0" smtClean="0"/>
              <a:t>- Analyse</a:t>
            </a:r>
            <a:r>
              <a:rPr lang="en-GB" baseline="0" dirty="0" smtClean="0"/>
              <a:t> data for patterns and knowledge</a:t>
            </a:r>
          </a:p>
          <a:p>
            <a:pPr marL="0" indent="0">
              <a:buFontTx/>
              <a:buNone/>
            </a:pPr>
            <a:endParaRPr lang="en-GB" baseline="0" dirty="0" smtClean="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0889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KE klarer oss ganske</a:t>
            </a:r>
            <a:r>
              <a:rPr lang="nb-NO" baseline="0" dirty="0"/>
              <a:t> godt – er kjent for at vi klarer å levere sånn passe innenfor rammene og oppnå det vi skal. </a:t>
            </a:r>
          </a:p>
          <a:p>
            <a:endParaRPr lang="nb-NO" baseline="0" dirty="0"/>
          </a:p>
          <a:p>
            <a:r>
              <a:rPr lang="nb-NO" baseline="0" dirty="0"/>
              <a:t>Suksessfaktorer er bla:</a:t>
            </a:r>
          </a:p>
          <a:p>
            <a:pPr marL="0" marR="0" lvl="0" indent="0" algn="l" defTabSz="683951" rtl="0" eaLnBrk="1" fontAlgn="auto" latinLnBrk="0" hangingPunct="1">
              <a:lnSpc>
                <a:spcPct val="100000"/>
              </a:lnSpc>
              <a:spcBef>
                <a:spcPts val="0"/>
              </a:spcBef>
              <a:spcAft>
                <a:spcPts val="0"/>
              </a:spcAft>
              <a:buClrTx/>
              <a:buSzTx/>
              <a:buFontTx/>
              <a:buNone/>
              <a:tabLst/>
              <a:defRPr/>
            </a:pPr>
            <a:r>
              <a:rPr lang="nb-NO" baseline="0" dirty="0"/>
              <a:t>-  Vi tar selv styringen på våre utviklingstiltak</a:t>
            </a:r>
          </a:p>
          <a:p>
            <a:r>
              <a:rPr lang="nb-NO" baseline="0" dirty="0"/>
              <a:t>-  At vi setter sammen team og prosjekter som jobber sammen som består av kombinasjon av egne ansatte (IT og forretning) og eksterne konsulenter. Vi bestemmer sammensetning.</a:t>
            </a:r>
          </a:p>
          <a:p>
            <a:pPr marL="0" indent="0">
              <a:buFontTx/>
              <a:buNone/>
            </a:pPr>
            <a:r>
              <a:rPr lang="nb-NO" baseline="0" dirty="0"/>
              <a:t>-  I 2014 - Smidig og </a:t>
            </a:r>
            <a:r>
              <a:rPr lang="nb-NO" baseline="0" dirty="0" err="1"/>
              <a:t>itterativ</a:t>
            </a:r>
            <a:r>
              <a:rPr lang="nb-NO" baseline="0" dirty="0"/>
              <a:t> arbeidsform var bransjestandard – vi jobbet ikke særlig smidig hos oss…trengte en brekkstang for å få dette etablert.</a:t>
            </a:r>
          </a:p>
          <a:p>
            <a:pPr marL="171450" indent="-171450">
              <a:buFontTx/>
              <a:buChar char="-"/>
            </a:pPr>
            <a:endParaRPr lang="nb-NO" dirty="0"/>
          </a:p>
          <a:p>
            <a:pPr marL="0" indent="0">
              <a:buFontTx/>
              <a:buNone/>
            </a:pPr>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22</a:t>
            </a:fld>
            <a:endParaRPr lang="nb-NO" dirty="0"/>
          </a:p>
        </p:txBody>
      </p:sp>
    </p:spTree>
    <p:extLst>
      <p:ext uri="{BB962C8B-B14F-4D97-AF65-F5344CB8AC3E}">
        <p14:creationId xmlns:p14="http://schemas.microsoft.com/office/powerpoint/2010/main" val="38293120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Tx/>
              <a:buChar char="-"/>
            </a:pPr>
            <a:r>
              <a:rPr lang="nb-NO" baseline="0" dirty="0"/>
              <a:t>Behov for en felles praksis – som vi jobber etter hos oss – vi ønsket ikke at alle konsulenter skulle komme med hver sin metode og måte å gjøre ting på.  </a:t>
            </a:r>
          </a:p>
          <a:p>
            <a:pPr marL="171450" indent="-171450">
              <a:buFontTx/>
              <a:buChar char="-"/>
            </a:pPr>
            <a:r>
              <a:rPr lang="nb-NO" baseline="0" dirty="0"/>
              <a:t>Så at det holt ikke bare med muntlig overleveringer – trengte en grad av dokumentasjon, </a:t>
            </a:r>
            <a:r>
              <a:rPr lang="nb-NO" baseline="0" dirty="0" err="1"/>
              <a:t>sermonier</a:t>
            </a:r>
            <a:r>
              <a:rPr lang="nb-NO" baseline="0" dirty="0"/>
              <a:t>, roller, ansvar og prosesser for å få til en god flyt. </a:t>
            </a:r>
          </a:p>
          <a:p>
            <a:pPr marL="0" indent="0">
              <a:buNone/>
            </a:pPr>
            <a:endParaRPr lang="nb-NO" dirty="0"/>
          </a:p>
          <a:p>
            <a:pPr marL="0" marR="0" lvl="0" indent="0" algn="l" defTabSz="683951" rtl="0" eaLnBrk="1" fontAlgn="auto" latinLnBrk="0" hangingPunct="1">
              <a:lnSpc>
                <a:spcPct val="100000"/>
              </a:lnSpc>
              <a:spcBef>
                <a:spcPts val="0"/>
              </a:spcBef>
              <a:spcAft>
                <a:spcPts val="0"/>
              </a:spcAft>
              <a:buClrTx/>
              <a:buSzTx/>
              <a:buFontTx/>
              <a:buNone/>
              <a:tabLst/>
              <a:defRPr/>
            </a:pPr>
            <a:r>
              <a:rPr lang="nb-NO" baseline="0" dirty="0"/>
              <a:t>Ut fra blant annet dette kom FSUM – etablert i 2014. </a:t>
            </a:r>
            <a:endParaRPr lang="nb-NO" dirty="0"/>
          </a:p>
          <a:p>
            <a:pPr marL="0" indent="0">
              <a:buNone/>
            </a:pPr>
            <a:endParaRPr lang="nb-NO" dirty="0"/>
          </a:p>
          <a:p>
            <a:pPr marL="0" indent="0">
              <a:buNone/>
            </a:pPr>
            <a:r>
              <a:rPr lang="nb-NO" dirty="0"/>
              <a:t>For at utviklingen</a:t>
            </a:r>
            <a:r>
              <a:rPr lang="nb-NO" baseline="0" dirty="0"/>
              <a:t> skal få god fart og møte færrest mulig hindre ønsker vi å være litt i forkant. I tillegg til at vi ønsker å være passe sikre på at vi løser de "riktige" behovene, ønsker vi å ha et helhetlig blikk på løsningskonsepter, og disse må forholde seg til rammeverk og andre interne og eksterne krav.</a:t>
            </a:r>
            <a:endParaRPr lang="nb-NO"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23</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40658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b="1" dirty="0" smtClean="0"/>
          </a:p>
          <a:p>
            <a:endParaRPr lang="nb-NO" b="1" dirty="0" smtClean="0"/>
          </a:p>
          <a:p>
            <a:r>
              <a:rPr lang="nb-NO" b="1" dirty="0" smtClean="0"/>
              <a:t>Felles ressurs </a:t>
            </a:r>
          </a:p>
          <a:p>
            <a:pPr marL="0" marR="0" lvl="0" indent="0" algn="l" defTabSz="683951" rtl="0" eaLnBrk="1" fontAlgn="auto" latinLnBrk="0" hangingPunct="1">
              <a:lnSpc>
                <a:spcPct val="100000"/>
              </a:lnSpc>
              <a:spcBef>
                <a:spcPts val="0"/>
              </a:spcBef>
              <a:spcAft>
                <a:spcPts val="0"/>
              </a:spcAft>
              <a:buClrTx/>
              <a:buSzTx/>
              <a:buFontTx/>
              <a:buNone/>
              <a:tabLst/>
              <a:defRPr/>
            </a:pPr>
            <a:r>
              <a:rPr lang="nb-NO" baseline="0" dirty="0" smtClean="0"/>
              <a:t>Skatteetaten forvalter informasjon som er relevant i alle de </a:t>
            </a:r>
            <a:r>
              <a:rPr lang="nb-NO" b="1" baseline="0" dirty="0" smtClean="0"/>
              <a:t>7 livshendelsene</a:t>
            </a:r>
            <a:r>
              <a:rPr lang="nb-NO" baseline="0" dirty="0" smtClean="0"/>
              <a:t> i digitaliseringsstrategien. </a:t>
            </a:r>
          </a:p>
          <a:p>
            <a:endParaRPr lang="nb-NO" b="0" dirty="0" smtClean="0"/>
          </a:p>
          <a:p>
            <a:pPr marL="171450" indent="-171450">
              <a:buFontTx/>
              <a:buChar char="-"/>
            </a:pPr>
            <a:r>
              <a:rPr lang="nb-NO" b="0" dirty="0" smtClean="0"/>
              <a:t>Informasjon</a:t>
            </a:r>
            <a:r>
              <a:rPr lang="nb-NO" b="0" baseline="0" dirty="0" smtClean="0"/>
              <a:t> som </a:t>
            </a:r>
            <a:r>
              <a:rPr lang="nb-NO" b="1" baseline="0" dirty="0" smtClean="0"/>
              <a:t>finnes i </a:t>
            </a:r>
            <a:r>
              <a:rPr lang="nb-NO" b="0" baseline="0" dirty="0" smtClean="0"/>
              <a:t>virkeligheten – </a:t>
            </a:r>
            <a:r>
              <a:rPr lang="nb-NO" b="1" baseline="0" dirty="0" smtClean="0"/>
              <a:t>digitalt </a:t>
            </a:r>
            <a:r>
              <a:rPr lang="nb-NO" b="0" baseline="0" dirty="0" smtClean="0"/>
              <a:t>og av egeninteresse</a:t>
            </a:r>
          </a:p>
          <a:p>
            <a:pPr marL="171450" indent="-171450">
              <a:buFontTx/>
              <a:buChar char="-"/>
            </a:pPr>
            <a:r>
              <a:rPr lang="nb-NO" b="0" dirty="0" smtClean="0"/>
              <a:t>Informasjon som </a:t>
            </a:r>
            <a:r>
              <a:rPr lang="nb-NO" b="1" dirty="0" smtClean="0"/>
              <a:t>beskriver virkeligheten</a:t>
            </a:r>
          </a:p>
          <a:p>
            <a:pPr marL="171450" indent="-171450">
              <a:buFontTx/>
              <a:buChar char="-"/>
            </a:pPr>
            <a:r>
              <a:rPr lang="nb-NO" b="0" dirty="0" smtClean="0"/>
              <a:t>Er oppdatert</a:t>
            </a:r>
            <a:r>
              <a:rPr lang="nb-NO" b="0" baseline="0" dirty="0" smtClean="0"/>
              <a:t> og </a:t>
            </a:r>
            <a:r>
              <a:rPr lang="nb-NO" b="1" baseline="0" dirty="0" smtClean="0"/>
              <a:t>tett på hendelse</a:t>
            </a:r>
            <a:endParaRPr lang="nb-NO" b="1" dirty="0" smtClean="0"/>
          </a:p>
          <a:p>
            <a:pPr marL="0" indent="0">
              <a:buFontTx/>
              <a:buNone/>
            </a:pPr>
            <a:endParaRPr lang="nb-NO" b="1" dirty="0" smtClean="0"/>
          </a:p>
          <a:p>
            <a:pPr marL="0" indent="0">
              <a:buFontTx/>
              <a:buNone/>
            </a:pPr>
            <a:r>
              <a:rPr lang="nb-NO" b="0" dirty="0" smtClean="0"/>
              <a:t>Skal vi sette bruker i sentrum</a:t>
            </a:r>
            <a:r>
              <a:rPr lang="nb-NO" b="0" baseline="0" dirty="0" smtClean="0"/>
              <a:t> må vi forholde oss til </a:t>
            </a:r>
            <a:r>
              <a:rPr lang="nb-NO" b="1" baseline="0" dirty="0" smtClean="0"/>
              <a:t>informasjon brukeren har et forhold til</a:t>
            </a:r>
            <a:r>
              <a:rPr lang="nb-NO" b="0" baseline="0" dirty="0" smtClean="0"/>
              <a:t>. </a:t>
            </a:r>
            <a:endParaRPr lang="nb-NO" b="0" dirty="0" smtClean="0"/>
          </a:p>
          <a:p>
            <a:pPr marL="171450" indent="-171450">
              <a:buFontTx/>
              <a:buChar char="-"/>
            </a:pPr>
            <a:endParaRPr lang="nb-NO" b="1" dirty="0" smtClean="0"/>
          </a:p>
          <a:p>
            <a:endParaRPr lang="nb-NO" b="1" dirty="0" smtClean="0"/>
          </a:p>
          <a:p>
            <a:r>
              <a:rPr lang="nb-NO" b="1" dirty="0" smtClean="0"/>
              <a:t>Nasjonal tilnærming</a:t>
            </a:r>
            <a:r>
              <a:rPr lang="nb-NO" b="1" baseline="0" dirty="0" smtClean="0"/>
              <a:t> </a:t>
            </a:r>
            <a:r>
              <a:rPr lang="nb-NO" b="0" baseline="0" dirty="0" smtClean="0"/>
              <a:t>– </a:t>
            </a:r>
            <a:r>
              <a:rPr lang="nb-NO" b="1" baseline="0" dirty="0" smtClean="0"/>
              <a:t>hvilke opplysninger skal vi ha kilder på?</a:t>
            </a:r>
          </a:p>
          <a:p>
            <a:pPr marL="171450" indent="-171450">
              <a:buFontTx/>
              <a:buChar char="-"/>
            </a:pPr>
            <a:r>
              <a:rPr lang="nb-NO" b="0" baseline="0" dirty="0" smtClean="0"/>
              <a:t>Svarer på </a:t>
            </a:r>
            <a:r>
              <a:rPr lang="nb-NO" b="0" baseline="0" dirty="0" err="1" smtClean="0"/>
              <a:t>spm</a:t>
            </a:r>
            <a:r>
              <a:rPr lang="nb-NO" b="0" baseline="0" dirty="0" smtClean="0"/>
              <a:t> om </a:t>
            </a:r>
            <a:r>
              <a:rPr lang="nb-NO" b="1" baseline="0" dirty="0" smtClean="0"/>
              <a:t>hvilke forhold vi skal forvalte informasjon om</a:t>
            </a:r>
          </a:p>
          <a:p>
            <a:pPr marL="171450" indent="-171450">
              <a:buFontTx/>
              <a:buChar char="-"/>
            </a:pPr>
            <a:r>
              <a:rPr lang="nb-NO" b="1" baseline="0" dirty="0" smtClean="0"/>
              <a:t>Tydelighet rundt </a:t>
            </a:r>
            <a:endParaRPr lang="nb-NO" b="1" dirty="0" smtClean="0"/>
          </a:p>
          <a:p>
            <a:endParaRPr lang="nb-NO" b="1" dirty="0" smtClean="0"/>
          </a:p>
          <a:p>
            <a:endParaRPr lang="nb-NO" b="1" dirty="0" smtClean="0"/>
          </a:p>
          <a:p>
            <a:r>
              <a:rPr lang="nb-NO" b="1" dirty="0" smtClean="0"/>
              <a:t>En bevissthet "lokalt"</a:t>
            </a:r>
            <a:r>
              <a:rPr lang="nb-NO" b="1" baseline="0" dirty="0" smtClean="0"/>
              <a:t> – hos alle kildene</a:t>
            </a:r>
            <a:endParaRPr lang="nb-NO" b="1" dirty="0" smtClean="0"/>
          </a:p>
          <a:p>
            <a:pPr marL="513425" lvl="1" indent="-171450">
              <a:buFont typeface="Arial" panose="020B0604020202020204" pitchFamily="34" charset="0"/>
              <a:buChar char="•"/>
            </a:pPr>
            <a:r>
              <a:rPr lang="nb-NO" b="0" dirty="0" smtClean="0"/>
              <a:t>Informasjon</a:t>
            </a:r>
            <a:r>
              <a:rPr lang="nb-NO" b="0" baseline="0" dirty="0" smtClean="0"/>
              <a:t> må være </a:t>
            </a:r>
            <a:r>
              <a:rPr lang="nb-NO" b="1" baseline="0" dirty="0" smtClean="0"/>
              <a:t>godt dokumenter </a:t>
            </a:r>
            <a:r>
              <a:rPr lang="nb-NO" b="0" baseline="0" dirty="0" smtClean="0"/>
              <a:t>– </a:t>
            </a:r>
            <a:r>
              <a:rPr lang="nb-NO" dirty="0" smtClean="0"/>
              <a:t>Datakataloger, begrepskatalog</a:t>
            </a:r>
          </a:p>
          <a:p>
            <a:pPr marL="855401" lvl="2" indent="-171450">
              <a:buFont typeface="Arial" panose="020B0604020202020204" pitchFamily="34" charset="0"/>
              <a:buChar char="•"/>
            </a:pPr>
            <a:r>
              <a:rPr lang="nb-NO" b="0" dirty="0" smtClean="0"/>
              <a:t>Inntekt</a:t>
            </a:r>
            <a:r>
              <a:rPr lang="nb-NO" b="0" baseline="0" dirty="0" smtClean="0"/>
              <a:t> og samboer har ulike definisjoner i ulike lovverk</a:t>
            </a:r>
          </a:p>
          <a:p>
            <a:pPr marL="855401" marR="0" lvl="2" indent="-1714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smtClean="0"/>
              <a:t>Utstillingsvindu</a:t>
            </a:r>
            <a:r>
              <a:rPr lang="nb-NO" baseline="0" dirty="0" smtClean="0"/>
              <a:t> for o</a:t>
            </a:r>
            <a:r>
              <a:rPr lang="nb-NO" dirty="0" smtClean="0"/>
              <a:t>ver </a:t>
            </a:r>
            <a:r>
              <a:rPr lang="nb-NO" b="1" dirty="0" smtClean="0"/>
              <a:t>3500 begreper </a:t>
            </a:r>
            <a:r>
              <a:rPr lang="nb-NO" dirty="0" smtClean="0"/>
              <a:t>er definert i Felles datakatalog – dette er helt nødvendig for at andre skal kunne bruke dataene våre. </a:t>
            </a:r>
          </a:p>
          <a:p>
            <a:pPr marL="855401" lvl="2" indent="-171450">
              <a:buFont typeface="Arial" panose="020B0604020202020204" pitchFamily="34" charset="0"/>
              <a:buChar char="•"/>
            </a:pPr>
            <a:endParaRPr lang="nb-NO" b="0" baseline="0" dirty="0" smtClean="0"/>
          </a:p>
          <a:p>
            <a:pPr marL="513425" lvl="1" indent="-171450">
              <a:buFont typeface="Arial" panose="020B0604020202020204" pitchFamily="34" charset="0"/>
              <a:buChar char="•"/>
            </a:pPr>
            <a:r>
              <a:rPr lang="nb-NO" b="0" baseline="0" dirty="0" smtClean="0"/>
              <a:t>Data kan ikke uten videre gjenbrukes på tvers uten at det får materielle konsekvenser – hvis definisjonen ikke er den samme</a:t>
            </a:r>
          </a:p>
          <a:p>
            <a:pPr marL="513425" lvl="1" indent="-171450">
              <a:buFont typeface="Arial" panose="020B0604020202020204" pitchFamily="34" charset="0"/>
              <a:buChar char="•"/>
            </a:pPr>
            <a:r>
              <a:rPr lang="nb-NO" b="0" baseline="0" dirty="0" smtClean="0"/>
              <a:t>Å få dette til </a:t>
            </a:r>
            <a:r>
              <a:rPr lang="nb-NO" b="1" baseline="0" dirty="0" smtClean="0"/>
              <a:t>krever en nysgjerrighet </a:t>
            </a:r>
            <a:r>
              <a:rPr lang="nb-NO" b="0" baseline="0" dirty="0" smtClean="0"/>
              <a:t>– rammer for samhandling og overskudd – til å </a:t>
            </a:r>
            <a:r>
              <a:rPr lang="nb-NO" b="1" baseline="0" dirty="0" smtClean="0"/>
              <a:t>skue ut over eget ansvarsområde</a:t>
            </a:r>
            <a:endParaRPr lang="nb-NO" b="1" dirty="0" smtClean="0"/>
          </a:p>
          <a:p>
            <a:endParaRPr lang="nb-NO" b="1" dirty="0" smtClean="0"/>
          </a:p>
          <a:p>
            <a:endParaRPr lang="nb-NO" b="1" dirty="0" smtClean="0"/>
          </a:p>
          <a:p>
            <a:endParaRPr lang="nb-NO" b="1" dirty="0" smtClean="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30</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9964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amhandlingsevne = interoperabilitet</a:t>
            </a:r>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3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70932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lvl="0" indent="-171450">
              <a:buFont typeface="Arial" panose="020B0604020202020204" pitchFamily="34" charset="0"/>
              <a:buChar char="•"/>
            </a:pPr>
            <a:r>
              <a:rPr lang="nb-NO" sz="1200" b="1" dirty="0">
                <a:ea typeface="+mn-lt"/>
                <a:cs typeface="+mn-lt"/>
              </a:rPr>
              <a:t>Standardisering</a:t>
            </a:r>
            <a:r>
              <a:rPr lang="nb-NO" sz="1200" dirty="0">
                <a:ea typeface="+mn-lt"/>
                <a:cs typeface="+mn-lt"/>
              </a:rPr>
              <a:t>: Vurdere samlet og strategisk hvilke data etaten har behov for og hvordan disse skal utformes og forvaltes i eller utenfor Skatteetaten</a:t>
            </a:r>
            <a:endParaRPr lang="nb-NO" sz="1200" dirty="0">
              <a:solidFill>
                <a:srgbClr val="FF0000"/>
              </a:solidFill>
              <a:ea typeface="+mn-lt"/>
              <a:cs typeface="+mn-lt"/>
            </a:endParaRPr>
          </a:p>
          <a:p>
            <a:pPr marL="171450" lvl="0" indent="-171450">
              <a:buFont typeface="Arial" panose="020B0604020202020204" pitchFamily="34" charset="0"/>
              <a:buChar char="•"/>
            </a:pPr>
            <a:r>
              <a:rPr lang="nb-NO" sz="1200" b="1" dirty="0">
                <a:ea typeface="+mn-lt"/>
                <a:cs typeface="+mn-lt"/>
              </a:rPr>
              <a:t>Informasjonsarkitektur</a:t>
            </a:r>
            <a:r>
              <a:rPr lang="nb-NO" sz="1200" dirty="0">
                <a:ea typeface="+mn-lt"/>
                <a:cs typeface="+mn-lt"/>
              </a:rPr>
              <a:t>: Skape dokumentert kunnskap om etatens informasjonsområder, dataene som forvaltes der og hvordan de henger sammen</a:t>
            </a:r>
            <a:endParaRPr lang="nb-NO" sz="1200" dirty="0">
              <a:solidFill>
                <a:srgbClr val="FF0000"/>
              </a:solidFill>
              <a:ea typeface="+mn-lt"/>
              <a:cs typeface="+mn-lt"/>
            </a:endParaRPr>
          </a:p>
          <a:p>
            <a:pPr marL="171450" lvl="0" indent="-171450">
              <a:buFont typeface="Arial" panose="020B0604020202020204" pitchFamily="34" charset="0"/>
              <a:buChar char="•"/>
            </a:pPr>
            <a:r>
              <a:rPr lang="nb-NO" sz="1200" b="1" dirty="0">
                <a:ea typeface="+mn-lt"/>
                <a:cs typeface="+mn-lt"/>
              </a:rPr>
              <a:t>Datakvalitet</a:t>
            </a:r>
            <a:r>
              <a:rPr lang="nb-NO" sz="1200" dirty="0">
                <a:ea typeface="+mn-lt"/>
                <a:cs typeface="+mn-lt"/>
              </a:rPr>
              <a:t>: Forstå, formidle og bidra til forbedring av kvalitet og relevans i data</a:t>
            </a:r>
            <a:endParaRPr lang="nb-NO" sz="1200" dirty="0">
              <a:solidFill>
                <a:srgbClr val="FF0000"/>
              </a:solidFill>
              <a:ea typeface="+mn-lt"/>
              <a:cs typeface="+mn-lt"/>
            </a:endParaRPr>
          </a:p>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37E1E-3FA5-44AD-B79C-09750F72CF9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47701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sz="1400" b="1" baseline="0">
              <a:cs typeface="Calibri"/>
            </a:endParaRPr>
          </a:p>
          <a:p>
            <a:endParaRPr lang="nb-NO" sz="1400" b="1">
              <a:cs typeface="Calibri"/>
            </a:endParaRPr>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4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8275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a:cs typeface="Calibri"/>
              </a:rPr>
              <a:t>1. Vi </a:t>
            </a:r>
            <a:r>
              <a:rPr lang="en-US" err="1">
                <a:cs typeface="Calibri"/>
              </a:rPr>
              <a:t>har</a:t>
            </a:r>
            <a:r>
              <a:rPr lang="en-US">
                <a:cs typeface="Calibri"/>
              </a:rPr>
              <a:t> </a:t>
            </a:r>
            <a:r>
              <a:rPr lang="en-US" err="1">
                <a:cs typeface="Calibri"/>
              </a:rPr>
              <a:t>ikke</a:t>
            </a:r>
            <a:r>
              <a:rPr lang="en-US">
                <a:cs typeface="Calibri"/>
              </a:rPr>
              <a:t> </a:t>
            </a:r>
            <a:r>
              <a:rPr lang="en-US" err="1">
                <a:cs typeface="Calibri"/>
              </a:rPr>
              <a:t>oversikt</a:t>
            </a:r>
            <a:r>
              <a:rPr lang="en-US">
                <a:cs typeface="Calibri"/>
              </a:rPr>
              <a:t>. </a:t>
            </a:r>
            <a:r>
              <a:rPr lang="en-US" err="1">
                <a:cs typeface="Calibri"/>
              </a:rPr>
              <a:t>Hvilke</a:t>
            </a:r>
            <a:r>
              <a:rPr lang="en-US">
                <a:cs typeface="Calibri"/>
              </a:rPr>
              <a:t> data </a:t>
            </a:r>
            <a:r>
              <a:rPr lang="en-US" err="1">
                <a:cs typeface="Calibri"/>
              </a:rPr>
              <a:t>har</a:t>
            </a:r>
            <a:r>
              <a:rPr lang="en-US">
                <a:cs typeface="Calibri"/>
              </a:rPr>
              <a:t> vi, </a:t>
            </a:r>
            <a:r>
              <a:rPr lang="en-US" err="1">
                <a:cs typeface="Calibri"/>
              </a:rPr>
              <a:t>hvem</a:t>
            </a:r>
            <a:r>
              <a:rPr lang="en-US">
                <a:cs typeface="Calibri"/>
              </a:rPr>
              <a:t> </a:t>
            </a:r>
            <a:r>
              <a:rPr lang="en-US" err="1">
                <a:cs typeface="Calibri"/>
              </a:rPr>
              <a:t>eier</a:t>
            </a:r>
            <a:r>
              <a:rPr lang="en-US">
                <a:cs typeface="Calibri"/>
              </a:rPr>
              <a:t> </a:t>
            </a:r>
            <a:r>
              <a:rPr lang="en-US" err="1">
                <a:cs typeface="Calibri"/>
              </a:rPr>
              <a:t>og</a:t>
            </a:r>
            <a:r>
              <a:rPr lang="en-US">
                <a:cs typeface="Calibri"/>
              </a:rPr>
              <a:t> </a:t>
            </a:r>
            <a:r>
              <a:rPr lang="en-US" err="1">
                <a:cs typeface="Calibri"/>
              </a:rPr>
              <a:t>forvalter</a:t>
            </a:r>
            <a:r>
              <a:rPr lang="en-US">
                <a:cs typeface="Calibri"/>
              </a:rPr>
              <a:t> de, </a:t>
            </a:r>
            <a:r>
              <a:rPr lang="en-US" err="1">
                <a:cs typeface="Calibri"/>
              </a:rPr>
              <a:t>hva</a:t>
            </a:r>
            <a:r>
              <a:rPr lang="en-US">
                <a:cs typeface="Calibri"/>
              </a:rPr>
              <a:t> </a:t>
            </a:r>
            <a:r>
              <a:rPr lang="en-US" err="1">
                <a:cs typeface="Calibri"/>
              </a:rPr>
              <a:t>kan</a:t>
            </a:r>
            <a:r>
              <a:rPr lang="en-US">
                <a:cs typeface="Calibri"/>
              </a:rPr>
              <a:t> de </a:t>
            </a:r>
            <a:r>
              <a:rPr lang="en-US" err="1">
                <a:cs typeface="Calibri"/>
              </a:rPr>
              <a:t>brukes</a:t>
            </a:r>
            <a:r>
              <a:rPr lang="en-US">
                <a:cs typeface="Calibri"/>
              </a:rPr>
              <a:t> </a:t>
            </a:r>
            <a:r>
              <a:rPr lang="en-US" err="1">
                <a:cs typeface="Calibri"/>
              </a:rPr>
              <a:t>til</a:t>
            </a:r>
            <a:r>
              <a:rPr lang="en-US">
                <a:cs typeface="Calibri"/>
              </a:rPr>
              <a:t>, </a:t>
            </a:r>
            <a:r>
              <a:rPr lang="en-US" err="1">
                <a:cs typeface="Calibri"/>
              </a:rPr>
              <a:t>hvordan</a:t>
            </a:r>
            <a:r>
              <a:rPr lang="en-US">
                <a:cs typeface="Calibri"/>
              </a:rPr>
              <a:t> </a:t>
            </a:r>
            <a:r>
              <a:rPr lang="en-US" err="1">
                <a:cs typeface="Calibri"/>
              </a:rPr>
              <a:t>får</a:t>
            </a:r>
            <a:r>
              <a:rPr lang="en-US">
                <a:cs typeface="Calibri"/>
              </a:rPr>
              <a:t> </a:t>
            </a:r>
            <a:r>
              <a:rPr lang="en-US" err="1">
                <a:cs typeface="Calibri"/>
              </a:rPr>
              <a:t>jeg</a:t>
            </a:r>
            <a:r>
              <a:rPr lang="en-US">
                <a:cs typeface="Calibri"/>
              </a:rPr>
              <a:t> </a:t>
            </a:r>
            <a:r>
              <a:rPr lang="en-US" err="1">
                <a:cs typeface="Calibri"/>
              </a:rPr>
              <a:t>tak</a:t>
            </a:r>
            <a:r>
              <a:rPr lang="en-US">
                <a:cs typeface="Calibri"/>
              </a:rPr>
              <a:t> </a:t>
            </a:r>
            <a:r>
              <a:rPr lang="en-US" err="1">
                <a:cs typeface="Calibri"/>
              </a:rPr>
              <a:t>på</a:t>
            </a:r>
            <a:r>
              <a:rPr lang="en-US">
                <a:cs typeface="Calibri"/>
              </a:rPr>
              <a:t> de. Vi </a:t>
            </a:r>
            <a:r>
              <a:rPr lang="en-US" err="1">
                <a:cs typeface="Calibri"/>
              </a:rPr>
              <a:t>har</a:t>
            </a:r>
            <a:r>
              <a:rPr lang="en-US">
                <a:cs typeface="Calibri"/>
              </a:rPr>
              <a:t> </a:t>
            </a:r>
            <a:r>
              <a:rPr lang="en-US" err="1">
                <a:cs typeface="Calibri"/>
              </a:rPr>
              <a:t>ikke</a:t>
            </a:r>
            <a:r>
              <a:rPr lang="en-US">
                <a:cs typeface="Calibri"/>
              </a:rPr>
              <a:t> </a:t>
            </a:r>
            <a:r>
              <a:rPr lang="en-US" err="1">
                <a:cs typeface="Calibri"/>
              </a:rPr>
              <a:t>noen</a:t>
            </a:r>
            <a:r>
              <a:rPr lang="en-US">
                <a:cs typeface="Calibri"/>
              </a:rPr>
              <a:t> </a:t>
            </a:r>
            <a:r>
              <a:rPr lang="en-US" err="1">
                <a:cs typeface="Calibri"/>
              </a:rPr>
              <a:t>organisering</a:t>
            </a:r>
            <a:r>
              <a:rPr lang="en-US">
                <a:cs typeface="Calibri"/>
              </a:rPr>
              <a:t> av </a:t>
            </a:r>
            <a:r>
              <a:rPr lang="en-US" err="1">
                <a:cs typeface="Calibri"/>
              </a:rPr>
              <a:t>dataene</a:t>
            </a:r>
            <a:r>
              <a:rPr lang="en-US">
                <a:cs typeface="Calibri"/>
              </a:rPr>
              <a:t> </a:t>
            </a:r>
            <a:r>
              <a:rPr lang="en-US" err="1">
                <a:cs typeface="Calibri"/>
              </a:rPr>
              <a:t>våre</a:t>
            </a:r>
            <a:r>
              <a:rPr lang="en-US">
                <a:cs typeface="Calibri"/>
              </a:rPr>
              <a:t>, det </a:t>
            </a:r>
            <a:r>
              <a:rPr lang="en-US" err="1">
                <a:cs typeface="Calibri"/>
              </a:rPr>
              <a:t>oppleves</a:t>
            </a:r>
            <a:r>
              <a:rPr lang="en-US">
                <a:cs typeface="Calibri"/>
              </a:rPr>
              <a:t> </a:t>
            </a:r>
            <a:r>
              <a:rPr lang="en-US" err="1">
                <a:cs typeface="Calibri"/>
              </a:rPr>
              <a:t>veldig</a:t>
            </a:r>
            <a:r>
              <a:rPr lang="en-US">
                <a:cs typeface="Calibri"/>
              </a:rPr>
              <a:t> </a:t>
            </a:r>
            <a:r>
              <a:rPr lang="en-US" err="1">
                <a:cs typeface="Calibri"/>
              </a:rPr>
              <a:t>tydelig</a:t>
            </a:r>
            <a:r>
              <a:rPr lang="en-US">
                <a:cs typeface="Calibri"/>
              </a:rPr>
              <a:t> om du ser inn I </a:t>
            </a:r>
            <a:r>
              <a:rPr lang="en-US" err="1">
                <a:cs typeface="Calibri"/>
              </a:rPr>
              <a:t>etaten</a:t>
            </a:r>
            <a:r>
              <a:rPr lang="en-US">
                <a:cs typeface="Calibri"/>
              </a:rPr>
              <a:t> </a:t>
            </a:r>
            <a:r>
              <a:rPr lang="en-US" err="1">
                <a:cs typeface="Calibri"/>
              </a:rPr>
              <a:t>fra</a:t>
            </a:r>
            <a:r>
              <a:rPr lang="en-US">
                <a:cs typeface="Calibri"/>
              </a:rPr>
              <a:t> </a:t>
            </a:r>
            <a:r>
              <a:rPr lang="en-US" err="1">
                <a:cs typeface="Calibri"/>
              </a:rPr>
              <a:t>analyse</a:t>
            </a:r>
            <a:r>
              <a:rPr lang="en-US">
                <a:cs typeface="Calibri"/>
              </a:rPr>
              <a:t> </a:t>
            </a:r>
            <a:r>
              <a:rPr lang="en-US" err="1">
                <a:cs typeface="Calibri"/>
              </a:rPr>
              <a:t>eller</a:t>
            </a:r>
            <a:r>
              <a:rPr lang="en-US">
                <a:cs typeface="Calibri"/>
              </a:rPr>
              <a:t> </a:t>
            </a:r>
            <a:r>
              <a:rPr lang="en-US" err="1">
                <a:cs typeface="Calibri"/>
              </a:rPr>
              <a:t>deling-siden</a:t>
            </a:r>
            <a:r>
              <a:rPr lang="en-US">
                <a:cs typeface="Calibri"/>
              </a:rPr>
              <a:t>. </a:t>
            </a:r>
          </a:p>
          <a:p>
            <a:r>
              <a:rPr lang="en-US">
                <a:cs typeface="Calibri"/>
              </a:rPr>
              <a:t> Vi </a:t>
            </a:r>
            <a:r>
              <a:rPr lang="en-US" err="1">
                <a:cs typeface="Calibri"/>
              </a:rPr>
              <a:t>kan</a:t>
            </a:r>
            <a:r>
              <a:rPr lang="en-US">
                <a:cs typeface="Calibri"/>
              </a:rPr>
              <a:t> </a:t>
            </a:r>
            <a:r>
              <a:rPr lang="en-US" err="1">
                <a:cs typeface="Calibri"/>
              </a:rPr>
              <a:t>ikke</a:t>
            </a:r>
            <a:r>
              <a:rPr lang="en-US">
                <a:cs typeface="Calibri"/>
              </a:rPr>
              <a:t> </a:t>
            </a:r>
            <a:r>
              <a:rPr lang="en-US" err="1">
                <a:cs typeface="Calibri"/>
              </a:rPr>
              <a:t>svare</a:t>
            </a:r>
            <a:r>
              <a:rPr lang="en-US">
                <a:cs typeface="Calibri"/>
              </a:rPr>
              <a:t> ut </a:t>
            </a:r>
            <a:r>
              <a:rPr lang="en-US" err="1">
                <a:cs typeface="Calibri"/>
              </a:rPr>
              <a:t>hva</a:t>
            </a:r>
            <a:r>
              <a:rPr lang="en-US">
                <a:cs typeface="Calibri"/>
              </a:rPr>
              <a:t> </a:t>
            </a:r>
            <a:r>
              <a:rPr lang="en-US" err="1">
                <a:cs typeface="Calibri"/>
              </a:rPr>
              <a:t>som</a:t>
            </a:r>
            <a:r>
              <a:rPr lang="en-US">
                <a:cs typeface="Calibri"/>
              </a:rPr>
              <a:t> </a:t>
            </a:r>
            <a:r>
              <a:rPr lang="en-US" err="1">
                <a:cs typeface="Calibri"/>
              </a:rPr>
              <a:t>gjelder</a:t>
            </a:r>
            <a:r>
              <a:rPr lang="en-US">
                <a:cs typeface="Calibri"/>
              </a:rPr>
              <a:t> av </a:t>
            </a:r>
          </a:p>
          <a:p>
            <a:endParaRPr lang="en-US">
              <a:cs typeface="Calibri"/>
            </a:endParaRPr>
          </a:p>
          <a:p>
            <a:r>
              <a:rPr lang="en-US">
                <a:cs typeface="Calibri"/>
              </a:rPr>
              <a:t>2. For </a:t>
            </a:r>
            <a:r>
              <a:rPr lang="en-US" err="1">
                <a:cs typeface="Calibri"/>
              </a:rPr>
              <a:t>stor</a:t>
            </a:r>
            <a:r>
              <a:rPr lang="en-US">
                <a:cs typeface="Calibri"/>
              </a:rPr>
              <a:t> </a:t>
            </a:r>
            <a:r>
              <a:rPr lang="en-US" err="1">
                <a:cs typeface="Calibri"/>
              </a:rPr>
              <a:t>variasjon</a:t>
            </a:r>
            <a:r>
              <a:rPr lang="en-US">
                <a:cs typeface="Calibri"/>
              </a:rPr>
              <a:t> I </a:t>
            </a:r>
            <a:r>
              <a:rPr lang="en-US" err="1">
                <a:cs typeface="Calibri"/>
              </a:rPr>
              <a:t>hvordan</a:t>
            </a:r>
            <a:r>
              <a:rPr lang="en-US">
                <a:cs typeface="Calibri"/>
              </a:rPr>
              <a:t> data er beskrever</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37E1E-3FA5-44AD-B79C-09750F72CF9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14003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60363" y="685800"/>
            <a:ext cx="6137275" cy="3429000"/>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4C32EF67-B9A3-4913-A098-60F068B7D4D5}" type="slidenum">
              <a:rPr lang="nb-NO" smtClean="0">
                <a:solidFill>
                  <a:prstClr val="black"/>
                </a:solidFill>
              </a:rPr>
              <a:pPr/>
              <a:t>50</a:t>
            </a:fld>
            <a:endParaRPr lang="nb-NO">
              <a:solidFill>
                <a:prstClr val="black"/>
              </a:solidFill>
            </a:endParaRPr>
          </a:p>
        </p:txBody>
      </p:sp>
    </p:spTree>
    <p:extLst>
      <p:ext uri="{BB962C8B-B14F-4D97-AF65-F5344CB8AC3E}">
        <p14:creationId xmlns:p14="http://schemas.microsoft.com/office/powerpoint/2010/main" val="28022876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defRPr/>
            </a:pPr>
            <a:r>
              <a:rPr lang="nb-NO" sz="1400" dirty="0"/>
              <a:t>Fordi</a:t>
            </a:r>
            <a:r>
              <a:rPr lang="nb-NO" sz="1400"/>
              <a:t> </a:t>
            </a:r>
            <a:r>
              <a:rPr lang="nb-NO" sz="1400" dirty="0"/>
              <a:t>vi ser at </a:t>
            </a:r>
          </a:p>
          <a:p>
            <a:pPr marL="285750" indent="-285750">
              <a:buFont typeface="Arial" panose="020B0604020202020204" pitchFamily="34" charset="0"/>
              <a:buChar char="•"/>
              <a:defRPr/>
            </a:pPr>
            <a:r>
              <a:rPr lang="nb-NO" sz="1400">
                <a:solidFill>
                  <a:prstClr val="black"/>
                </a:solidFill>
                <a:latin typeface="Arial" panose="020B0604020202020204"/>
              </a:rPr>
              <a:t>Aktører </a:t>
            </a:r>
            <a:r>
              <a:rPr lang="nb-NO" sz="1400" dirty="0">
                <a:solidFill>
                  <a:prstClr val="black"/>
                </a:solidFill>
                <a:latin typeface="Arial" panose="020B0604020202020204"/>
              </a:rPr>
              <a:t>henger i stadig større grad sammen i lange verdikjeder med en gjennomgående digitalisering</a:t>
            </a:r>
          </a:p>
          <a:p>
            <a:pPr marL="285750" indent="-285750">
              <a:buFont typeface="Arial" panose="020B0604020202020204" pitchFamily="34" charset="0"/>
              <a:buChar char="•"/>
              <a:defRPr/>
            </a:pPr>
            <a:r>
              <a:rPr lang="nb-NO" sz="1400">
                <a:solidFill>
                  <a:prstClr val="black"/>
                </a:solidFill>
                <a:latin typeface="Arial" panose="020B0604020202020204"/>
              </a:rPr>
              <a:t>Etatens </a:t>
            </a:r>
            <a:r>
              <a:rPr lang="nb-NO" sz="1400" dirty="0">
                <a:solidFill>
                  <a:prstClr val="black"/>
                </a:solidFill>
                <a:latin typeface="Arial" panose="020B0604020202020204"/>
              </a:rPr>
              <a:t>oppgaver kan løses i større grad ute i samfunnet, der den økonomiske aktiviteten finner sted</a:t>
            </a:r>
          </a:p>
          <a:p>
            <a:pPr>
              <a:defRPr/>
            </a:pPr>
            <a:endParaRPr lang="nb-NO" sz="1400" dirty="0">
              <a:solidFill>
                <a:prstClr val="black"/>
              </a:solidFill>
              <a:latin typeface="Arial" panose="020B0604020202020204"/>
            </a:endParaRPr>
          </a:p>
          <a:p>
            <a:pPr>
              <a:defRPr/>
            </a:pPr>
            <a:r>
              <a:rPr lang="nb-NO" sz="1400">
                <a:solidFill>
                  <a:prstClr val="black"/>
                </a:solidFill>
                <a:latin typeface="Arial" panose="020B0604020202020204"/>
              </a:rPr>
              <a:t>For </a:t>
            </a:r>
            <a:r>
              <a:rPr lang="nb-NO" sz="1400" dirty="0">
                <a:solidFill>
                  <a:prstClr val="black"/>
                </a:solidFill>
                <a:latin typeface="Arial" panose="020B0604020202020204"/>
              </a:rPr>
              <a:t>å opprettholde tillit og skape transparens er på mange områder er regelverk, standarder og samarbeid viktigere enn intern utvikling for å legge til rette innovative løsninger.</a:t>
            </a:r>
          </a:p>
          <a:p>
            <a:pPr>
              <a:defRPr/>
            </a:pPr>
            <a:r>
              <a:rPr lang="nb-NO" sz="1400">
                <a:solidFill>
                  <a:prstClr val="black"/>
                </a:solidFill>
                <a:latin typeface="Arial" panose="020B0604020202020204"/>
              </a:rPr>
              <a:t>Piloter </a:t>
            </a:r>
            <a:r>
              <a:rPr lang="nb-NO" sz="1400" dirty="0">
                <a:solidFill>
                  <a:prstClr val="black"/>
                </a:solidFill>
                <a:latin typeface="Arial" panose="020B0604020202020204"/>
              </a:rPr>
              <a:t>og innovasjonssamarbeid vil også bli viktigere i årene fremover</a:t>
            </a:r>
          </a:p>
          <a:p>
            <a:endParaRPr lang="nb-NO" sz="1400" b="0"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51</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2903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mtClean="0"/>
              <a:t>Papirindustrien</a:t>
            </a:r>
            <a:r>
              <a:rPr lang="nb-NO" baseline="0" smtClean="0"/>
              <a:t> har tjent penger .....</a:t>
            </a:r>
            <a:endParaRPr lang="nb-NO"/>
          </a:p>
        </p:txBody>
      </p:sp>
      <p:sp>
        <p:nvSpPr>
          <p:cNvPr id="4" name="Plassholder for lysbildenummer 3"/>
          <p:cNvSpPr>
            <a:spLocks noGrp="1"/>
          </p:cNvSpPr>
          <p:nvPr>
            <p:ph type="sldNum" sz="quarter" idx="10"/>
          </p:nvPr>
        </p:nvSpPr>
        <p:spPr/>
        <p:txBody>
          <a:bodyPr/>
          <a:lstStyle/>
          <a:p>
            <a:fld id="{F83CC255-62A1-4938-BE7E-761093C82227}" type="slidenum">
              <a:rPr lang="nb-NO" smtClean="0"/>
              <a:pPr/>
              <a:t>6</a:t>
            </a:fld>
            <a:endParaRPr lang="nb-NO" dirty="0"/>
          </a:p>
        </p:txBody>
      </p:sp>
    </p:spTree>
    <p:extLst>
      <p:ext uri="{BB962C8B-B14F-4D97-AF65-F5344CB8AC3E}">
        <p14:creationId xmlns:p14="http://schemas.microsoft.com/office/powerpoint/2010/main" val="31751372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http://e24.no/privat/skatt/paa-aere-og-samvittighet-gjennom-100-aar/20350920</a:t>
            </a:r>
          </a:p>
          <a:p>
            <a:endParaRPr lang="nb-NO" dirty="0" smtClean="0"/>
          </a:p>
          <a:p>
            <a:pPr fontAlgn="base"/>
            <a:r>
              <a:rPr lang="nb-NO" sz="900" b="0" i="0" kern="1200" dirty="0" smtClean="0">
                <a:solidFill>
                  <a:schemeClr val="tx1"/>
                </a:solidFill>
                <a:effectLst/>
                <a:latin typeface="+mn-lt"/>
                <a:ea typeface="+mn-ea"/>
                <a:cs typeface="+mn-cs"/>
              </a:rPr>
              <a:t>Hvor mye tjente du? Der vi i dag får en </a:t>
            </a:r>
            <a:r>
              <a:rPr lang="nb-NO" sz="900" b="0" i="0" kern="1200" dirty="0" err="1" smtClean="0">
                <a:solidFill>
                  <a:schemeClr val="tx1"/>
                </a:solidFill>
                <a:effectLst/>
                <a:latin typeface="+mn-lt"/>
                <a:ea typeface="+mn-ea"/>
                <a:cs typeface="+mn-cs"/>
              </a:rPr>
              <a:t>forhåndsutfylt</a:t>
            </a:r>
            <a:r>
              <a:rPr lang="nb-NO" sz="900" b="0" i="0" kern="1200" dirty="0" smtClean="0">
                <a:solidFill>
                  <a:schemeClr val="tx1"/>
                </a:solidFill>
                <a:effectLst/>
                <a:latin typeface="+mn-lt"/>
                <a:ea typeface="+mn-ea"/>
                <a:cs typeface="+mn-cs"/>
              </a:rPr>
              <a:t> selvangivelse med inntekt oppgitt var det for 100 år siden vanskeligere å finne ut hva man tjente. </a:t>
            </a:r>
          </a:p>
          <a:p>
            <a:pPr fontAlgn="base"/>
            <a:r>
              <a:rPr lang="nb-NO" sz="900" b="1" kern="1200" dirty="0" smtClean="0">
                <a:solidFill>
                  <a:schemeClr val="tx1"/>
                </a:solidFill>
                <a:effectLst/>
                <a:latin typeface="+mn-lt"/>
                <a:ea typeface="+mn-ea"/>
                <a:cs typeface="+mn-cs"/>
              </a:rPr>
              <a:t>Hjelp:</a:t>
            </a:r>
            <a:r>
              <a:rPr lang="nb-NO" sz="900" kern="1200" dirty="0" smtClean="0">
                <a:solidFill>
                  <a:schemeClr val="tx1"/>
                </a:solidFill>
                <a:effectLst/>
                <a:latin typeface="+mn-lt"/>
                <a:ea typeface="+mn-ea"/>
                <a:cs typeface="+mn-cs"/>
              </a:rPr>
              <a:t> Dine Penger har gitt skatteråd i 30 år. Vi følger en lang tradisjon, her håndbok fra 1943.</a:t>
            </a:r>
          </a:p>
          <a:p>
            <a:pPr fontAlgn="base"/>
            <a:r>
              <a:rPr lang="nb-NO" sz="900" kern="1200" cap="all" dirty="0" smtClean="0">
                <a:solidFill>
                  <a:schemeClr val="tx1"/>
                </a:solidFill>
                <a:effectLst/>
                <a:latin typeface="+mn-lt"/>
                <a:ea typeface="+mn-ea"/>
                <a:cs typeface="+mn-cs"/>
              </a:rPr>
              <a:t>FOTO: BÅRD BRINCHMANN LØVVIG </a:t>
            </a:r>
            <a:r>
              <a:rPr lang="nb-NO" sz="900" i="1" kern="1200" cap="all" dirty="0" err="1" smtClean="0">
                <a:solidFill>
                  <a:schemeClr val="tx1"/>
                </a:solidFill>
                <a:effectLst/>
                <a:latin typeface="+mn-lt"/>
                <a:ea typeface="+mn-ea"/>
                <a:cs typeface="+mn-cs"/>
              </a:rPr>
              <a:t>SKATTEETATEN</a:t>
            </a:r>
            <a:r>
              <a:rPr lang="nb-NO" sz="900" b="0" i="0" kern="1200" dirty="0" err="1" smtClean="0">
                <a:solidFill>
                  <a:schemeClr val="tx1"/>
                </a:solidFill>
                <a:effectLst/>
                <a:latin typeface="+mn-lt"/>
                <a:ea typeface="+mn-ea"/>
                <a:cs typeface="+mn-cs"/>
              </a:rPr>
              <a:t>Mange</a:t>
            </a:r>
            <a:r>
              <a:rPr lang="nb-NO" sz="900" b="0" i="0" kern="1200" dirty="0" smtClean="0">
                <a:solidFill>
                  <a:schemeClr val="tx1"/>
                </a:solidFill>
                <a:effectLst/>
                <a:latin typeface="+mn-lt"/>
                <a:ea typeface="+mn-ea"/>
                <a:cs typeface="+mn-cs"/>
              </a:rPr>
              <a:t> levde av landbruk og/eller fiske. Samtidig var det mye naturalhusholdning der varer ble byttet.</a:t>
            </a:r>
            <a:br>
              <a:rPr lang="nb-NO" sz="900" b="0" i="0" kern="1200" dirty="0" smtClean="0">
                <a:solidFill>
                  <a:schemeClr val="tx1"/>
                </a:solidFill>
                <a:effectLst/>
                <a:latin typeface="+mn-lt"/>
                <a:ea typeface="+mn-ea"/>
                <a:cs typeface="+mn-cs"/>
              </a:rPr>
            </a:br>
            <a:endParaRPr lang="nb-NO" sz="900" b="0" i="0" kern="1200" dirty="0" smtClean="0">
              <a:solidFill>
                <a:schemeClr val="tx1"/>
              </a:solidFill>
              <a:effectLst/>
              <a:latin typeface="+mn-lt"/>
              <a:ea typeface="+mn-ea"/>
              <a:cs typeface="+mn-cs"/>
            </a:endParaRPr>
          </a:p>
          <a:p>
            <a:pPr fontAlgn="base"/>
            <a:r>
              <a:rPr lang="nb-NO" sz="900" b="0" i="0" kern="1200" dirty="0" smtClean="0">
                <a:solidFill>
                  <a:schemeClr val="tx1"/>
                </a:solidFill>
                <a:effectLst/>
                <a:latin typeface="+mn-lt"/>
                <a:ea typeface="+mn-ea"/>
                <a:cs typeface="+mn-cs"/>
              </a:rPr>
              <a:t>Da var det ikke helt lett å fastslå nøyaktige inntekter.</a:t>
            </a:r>
            <a:br>
              <a:rPr lang="nb-NO" sz="900" b="0" i="0" kern="1200" dirty="0" smtClean="0">
                <a:solidFill>
                  <a:schemeClr val="tx1"/>
                </a:solidFill>
                <a:effectLst/>
                <a:latin typeface="+mn-lt"/>
                <a:ea typeface="+mn-ea"/>
                <a:cs typeface="+mn-cs"/>
              </a:rPr>
            </a:br>
            <a:endParaRPr lang="nb-NO" sz="900" b="0" i="0" kern="1200" dirty="0" smtClean="0">
              <a:solidFill>
                <a:schemeClr val="tx1"/>
              </a:solidFill>
              <a:effectLst/>
              <a:latin typeface="+mn-lt"/>
              <a:ea typeface="+mn-ea"/>
              <a:cs typeface="+mn-cs"/>
            </a:endParaRPr>
          </a:p>
          <a:p>
            <a:pPr fontAlgn="base"/>
            <a:r>
              <a:rPr lang="nb-NO" sz="900" b="0" i="0" kern="1200" dirty="0" smtClean="0">
                <a:solidFill>
                  <a:schemeClr val="tx1"/>
                </a:solidFill>
                <a:effectLst/>
                <a:latin typeface="+mn-lt"/>
                <a:ea typeface="+mn-ea"/>
                <a:cs typeface="+mn-cs"/>
              </a:rPr>
              <a:t>Store, kommunale ligningskommisjoner brukte sin lokalkunnskap og sitt skjønn til å anslå innbyggernes inntekt best mulig.</a:t>
            </a:r>
            <a:br>
              <a:rPr lang="nb-NO" sz="900" b="0" i="0" kern="1200" dirty="0" smtClean="0">
                <a:solidFill>
                  <a:schemeClr val="tx1"/>
                </a:solidFill>
                <a:effectLst/>
                <a:latin typeface="+mn-lt"/>
                <a:ea typeface="+mn-ea"/>
                <a:cs typeface="+mn-cs"/>
              </a:rPr>
            </a:br>
            <a:endParaRPr lang="nb-NO" sz="900" b="0" i="0" kern="1200" dirty="0" smtClean="0">
              <a:solidFill>
                <a:schemeClr val="tx1"/>
              </a:solidFill>
              <a:effectLst/>
              <a:latin typeface="+mn-lt"/>
              <a:ea typeface="+mn-ea"/>
              <a:cs typeface="+mn-cs"/>
            </a:endParaRPr>
          </a:p>
          <a:p>
            <a:pPr fontAlgn="base"/>
            <a:r>
              <a:rPr lang="nb-NO" sz="900" b="1" i="0" kern="1200" dirty="0" smtClean="0">
                <a:solidFill>
                  <a:schemeClr val="tx1"/>
                </a:solidFill>
                <a:effectLst/>
                <a:latin typeface="+mn-lt"/>
                <a:ea typeface="+mn-ea"/>
                <a:cs typeface="+mn-cs"/>
              </a:rPr>
              <a:t>Og når inntekten ble fastsatt av en kommisjon, var det også viktig med åpne skattelister så alle kunne se at skatten man selv var pålagt omtrent stemte med den skatten naboen var pålagt.</a:t>
            </a:r>
            <a:endParaRPr lang="nb-NO" sz="900" b="0" i="0" kern="1200" dirty="0" smtClean="0">
              <a:solidFill>
                <a:schemeClr val="tx1"/>
              </a:solidFill>
              <a:effectLst/>
              <a:latin typeface="+mn-lt"/>
              <a:ea typeface="+mn-ea"/>
              <a:cs typeface="+mn-cs"/>
            </a:endParaRPr>
          </a:p>
          <a:p>
            <a:endParaRPr lang="nb-NO" dirty="0" smtClean="0"/>
          </a:p>
          <a:p>
            <a:r>
              <a:rPr lang="nb-NO" sz="900" b="0" i="0" kern="1200" dirty="0" smtClean="0">
                <a:solidFill>
                  <a:schemeClr val="tx1"/>
                </a:solidFill>
                <a:effectLst/>
                <a:latin typeface="+mn-lt"/>
                <a:ea typeface="+mn-ea"/>
                <a:cs typeface="+mn-cs"/>
              </a:rPr>
              <a:t>Selvangivelsen gjorde Skatteetaten om fra en innsamlingsetat til en kontrolletat. Nå kunne skattemyndighetene bruke tiden på å kontrollere informasjonen som var sendt inn av de ulike skattebetalerne.</a:t>
            </a:r>
          </a:p>
          <a:p>
            <a:endParaRPr lang="nb-NO" sz="900" b="0" i="0" kern="1200" dirty="0" smtClean="0">
              <a:solidFill>
                <a:schemeClr val="tx1"/>
              </a:solidFill>
              <a:effectLst/>
              <a:latin typeface="+mn-lt"/>
              <a:ea typeface="+mn-ea"/>
              <a:cs typeface="+mn-cs"/>
            </a:endParaRPr>
          </a:p>
          <a:p>
            <a:pPr fontAlgn="base"/>
            <a:r>
              <a:rPr lang="nb-NO" sz="900" b="1" i="0" kern="1200" dirty="0" smtClean="0">
                <a:solidFill>
                  <a:schemeClr val="tx1"/>
                </a:solidFill>
                <a:effectLst/>
                <a:latin typeface="+mn-lt"/>
                <a:ea typeface="+mn-ea"/>
                <a:cs typeface="+mn-cs"/>
              </a:rPr>
              <a:t>Men ikke alle leverte selvangivelsen i starten. I Leikanger i Sogn og Fjordane leverte kun 16 av 770 skattepliktige selvangivelsen i 1917.</a:t>
            </a:r>
            <a:r>
              <a:rPr lang="nb-NO" sz="900" b="0" i="0" kern="1200" dirty="0" smtClean="0">
                <a:solidFill>
                  <a:schemeClr val="tx1"/>
                </a:solidFill>
                <a:effectLst/>
                <a:latin typeface="+mn-lt"/>
                <a:ea typeface="+mn-ea"/>
                <a:cs typeface="+mn-cs"/>
              </a:rPr>
              <a:t/>
            </a:r>
            <a:br>
              <a:rPr lang="nb-NO" sz="900" b="0" i="0" kern="1200" dirty="0" smtClean="0">
                <a:solidFill>
                  <a:schemeClr val="tx1"/>
                </a:solidFill>
                <a:effectLst/>
                <a:latin typeface="+mn-lt"/>
                <a:ea typeface="+mn-ea"/>
                <a:cs typeface="+mn-cs"/>
              </a:rPr>
            </a:br>
            <a:endParaRPr lang="nb-NO" sz="900" b="0" i="0" kern="1200" dirty="0" smtClean="0">
              <a:solidFill>
                <a:schemeClr val="tx1"/>
              </a:solidFill>
              <a:effectLst/>
              <a:latin typeface="+mn-lt"/>
              <a:ea typeface="+mn-ea"/>
              <a:cs typeface="+mn-cs"/>
            </a:endParaRPr>
          </a:p>
          <a:p>
            <a:pPr fontAlgn="base"/>
            <a:r>
              <a:rPr lang="nb-NO" sz="900" b="0" i="0" kern="1200" dirty="0" err="1" smtClean="0">
                <a:solidFill>
                  <a:schemeClr val="tx1"/>
                </a:solidFill>
                <a:effectLst/>
                <a:latin typeface="+mn-lt"/>
                <a:ea typeface="+mn-ea"/>
                <a:cs typeface="+mn-cs"/>
              </a:rPr>
              <a:t>Dengang</a:t>
            </a:r>
            <a:r>
              <a:rPr lang="nb-NO" sz="900" b="0" i="0" kern="1200" dirty="0" smtClean="0">
                <a:solidFill>
                  <a:schemeClr val="tx1"/>
                </a:solidFill>
                <a:effectLst/>
                <a:latin typeface="+mn-lt"/>
                <a:ea typeface="+mn-ea"/>
                <a:cs typeface="+mn-cs"/>
              </a:rPr>
              <a:t> ble de skjønnslignet. Først i 1921 kom straffeskatt for de som ikke leverte.</a:t>
            </a:r>
          </a:p>
          <a:p>
            <a:endParaRPr lang="nb-NO" dirty="0" smtClean="0"/>
          </a:p>
          <a:p>
            <a:pPr fontAlgn="base"/>
            <a:r>
              <a:rPr lang="nb-NO" sz="900" b="0" i="0" kern="1200" dirty="0" smtClean="0">
                <a:solidFill>
                  <a:schemeClr val="tx1"/>
                </a:solidFill>
                <a:effectLst/>
                <a:latin typeface="+mn-lt"/>
                <a:ea typeface="+mn-ea"/>
                <a:cs typeface="+mn-cs"/>
              </a:rPr>
              <a:t>Postene i dagens selvangivelse er for en stor del uforandret siden 1913. Foruten på likestillingens område.</a:t>
            </a:r>
          </a:p>
          <a:p>
            <a:pPr fontAlgn="base"/>
            <a:r>
              <a:rPr lang="nb-NO" sz="900" b="0" i="0" kern="1200" dirty="0" smtClean="0">
                <a:solidFill>
                  <a:schemeClr val="tx1"/>
                </a:solidFill>
                <a:effectLst/>
                <a:latin typeface="+mn-lt"/>
                <a:ea typeface="+mn-ea"/>
                <a:cs typeface="+mn-cs"/>
              </a:rPr>
              <a:t>For selv om kvinner fikk stemmerett i 1913, fikk de ikke leveringsplikt for selvangivelse. De var kun synlige i mannens selvangivelse gjennom posten «forsørgerbyrde».</a:t>
            </a:r>
          </a:p>
          <a:p>
            <a:pPr fontAlgn="base"/>
            <a:r>
              <a:rPr lang="nb-NO" sz="900" b="0" i="0" kern="1200" dirty="0" smtClean="0">
                <a:solidFill>
                  <a:schemeClr val="tx1"/>
                </a:solidFill>
                <a:effectLst/>
                <a:latin typeface="+mn-lt"/>
                <a:ea typeface="+mn-ea"/>
                <a:cs typeface="+mn-cs"/>
              </a:rPr>
              <a:t>Først i 1958 ble det kjønnsnøytrale begrepet «ektefelle» brukt i selvangivelsen.</a:t>
            </a:r>
          </a:p>
          <a:p>
            <a:r>
              <a:rPr lang="nb-NO" dirty="0" smtClean="0"/>
              <a:t/>
            </a:r>
            <a:br>
              <a:rPr lang="nb-NO" dirty="0" smtClean="0"/>
            </a:br>
            <a:endParaRPr lang="nb-NO" dirty="0" smtClean="0"/>
          </a:p>
        </p:txBody>
      </p:sp>
      <p:sp>
        <p:nvSpPr>
          <p:cNvPr id="4" name="Plassholder for lysbildenummer 3"/>
          <p:cNvSpPr>
            <a:spLocks noGrp="1"/>
          </p:cNvSpPr>
          <p:nvPr>
            <p:ph type="sldNum" sz="quarter" idx="10"/>
          </p:nvPr>
        </p:nvSpPr>
        <p:spPr/>
        <p:txBody>
          <a:bodyPr/>
          <a:lstStyle/>
          <a:p>
            <a:fld id="{632A0872-C380-4561-BB86-44E3F0E0336C}" type="slidenum">
              <a:rPr lang="nb-NO" smtClean="0"/>
              <a:t>7</a:t>
            </a:fld>
            <a:endParaRPr lang="nb-NO"/>
          </a:p>
        </p:txBody>
      </p:sp>
    </p:spTree>
    <p:extLst>
      <p:ext uri="{BB962C8B-B14F-4D97-AF65-F5344CB8AC3E}">
        <p14:creationId xmlns:p14="http://schemas.microsoft.com/office/powerpoint/2010/main" val="3360283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dirty="0"/>
              <a:t>Challenges</a:t>
            </a:r>
          </a:p>
          <a:p>
            <a:r>
              <a:rPr lang="en-GB" dirty="0"/>
              <a:t>- Tax avoidance Double Irish</a:t>
            </a:r>
            <a:r>
              <a:rPr lang="en-GB" baseline="0" dirty="0"/>
              <a:t> with a Dutch Sandwich</a:t>
            </a:r>
          </a:p>
          <a:p>
            <a:r>
              <a:rPr lang="en-GB" baseline="0" dirty="0"/>
              <a:t>- Fraud with consumption and origin taxes</a:t>
            </a:r>
          </a:p>
          <a:p>
            <a:r>
              <a:rPr lang="en-GB" baseline="0" dirty="0"/>
              <a:t>- Sharing company protecting data</a:t>
            </a:r>
          </a:p>
          <a:p>
            <a:r>
              <a:rPr lang="en-GB" baseline="0" dirty="0"/>
              <a:t>Possibilities</a:t>
            </a:r>
          </a:p>
          <a:p>
            <a:r>
              <a:rPr lang="en-GB" dirty="0"/>
              <a:t>- </a:t>
            </a:r>
            <a:r>
              <a:rPr lang="en-GB" dirty="0" err="1"/>
              <a:t>Exhange</a:t>
            </a:r>
            <a:r>
              <a:rPr lang="en-GB" dirty="0"/>
              <a:t> data with third parties</a:t>
            </a:r>
          </a:p>
          <a:p>
            <a:r>
              <a:rPr lang="en-GB" dirty="0"/>
              <a:t>- Near</a:t>
            </a:r>
            <a:r>
              <a:rPr lang="en-GB" baseline="0" dirty="0"/>
              <a:t> real-time communication</a:t>
            </a:r>
          </a:p>
          <a:p>
            <a:pPr marL="0" indent="0">
              <a:buFontTx/>
              <a:buNone/>
            </a:pPr>
            <a:r>
              <a:rPr lang="en-GB" dirty="0"/>
              <a:t>- Analyse</a:t>
            </a:r>
            <a:r>
              <a:rPr lang="en-GB" baseline="0" dirty="0"/>
              <a:t> data for patterns and knowledge</a:t>
            </a:r>
          </a:p>
          <a:p>
            <a:pPr marL="0" indent="0">
              <a:buFontTx/>
              <a:buNone/>
            </a:pPr>
            <a:endParaRPr lang="en-GB" baseline="0"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990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Oppdrags</a:t>
            </a:r>
            <a:r>
              <a:rPr lang="nb-NO" baseline="0" dirty="0" smtClean="0"/>
              <a:t> og betalingsstrømmer</a:t>
            </a:r>
          </a:p>
          <a:p>
            <a:r>
              <a:rPr lang="nb-NO" baseline="0" dirty="0" smtClean="0"/>
              <a:t>Eks </a:t>
            </a:r>
            <a:r>
              <a:rPr lang="nb-NO" baseline="0" dirty="0" err="1" smtClean="0"/>
              <a:t>Paypal</a:t>
            </a:r>
            <a:r>
              <a:rPr lang="nb-NO" baseline="0" dirty="0" smtClean="0"/>
              <a:t> som skjuler hvem som får penger, vouchers og kredittkort som har krypterte samleoverføringer til Norge for å unngå Valutaregisteret</a:t>
            </a:r>
          </a:p>
          <a:p>
            <a:r>
              <a:rPr lang="nb-NO" baseline="0" dirty="0" smtClean="0"/>
              <a:t>Eks Finn, </a:t>
            </a:r>
            <a:r>
              <a:rPr lang="nb-NO" baseline="0" dirty="0" err="1" smtClean="0"/>
              <a:t>Uber</a:t>
            </a:r>
            <a:r>
              <a:rPr lang="nb-NO" baseline="0" dirty="0" smtClean="0"/>
              <a:t>, </a:t>
            </a:r>
            <a:r>
              <a:rPr lang="nb-NO" baseline="0" dirty="0" err="1" smtClean="0"/>
              <a:t>AirBnB</a:t>
            </a:r>
            <a:r>
              <a:rPr lang="nb-NO" baseline="0" dirty="0" smtClean="0"/>
              <a:t> som skjuler hvem som utfører tjenester</a:t>
            </a:r>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10</a:t>
            </a:fld>
            <a:endParaRPr lang="nb-NO"/>
          </a:p>
        </p:txBody>
      </p:sp>
    </p:spTree>
    <p:extLst>
      <p:ext uri="{BB962C8B-B14F-4D97-AF65-F5344CB8AC3E}">
        <p14:creationId xmlns:p14="http://schemas.microsoft.com/office/powerpoint/2010/main" val="2947502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smtClean="0"/>
              <a:t>Facebook</a:t>
            </a:r>
            <a:r>
              <a:rPr lang="nb-NO" dirty="0" smtClean="0"/>
              <a:t>:</a:t>
            </a:r>
            <a:r>
              <a:rPr lang="nb-NO" baseline="0" dirty="0" smtClean="0"/>
              <a:t> Intensjon om å endre firmastruktur for å skatte til Norge fra 2020 (fra et stykke ut i skatteåret 2019)</a:t>
            </a:r>
          </a:p>
          <a:p>
            <a:endParaRPr lang="nb-NO" baseline="0" dirty="0" smtClean="0"/>
          </a:p>
          <a:p>
            <a:r>
              <a:rPr lang="nb-NO" baseline="0" dirty="0" smtClean="0"/>
              <a:t>Landene betaler derimot MVA for elektroniske tjenester</a:t>
            </a:r>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13</a:t>
            </a:fld>
            <a:endParaRPr lang="nb-NO"/>
          </a:p>
        </p:txBody>
      </p:sp>
    </p:spTree>
    <p:extLst>
      <p:ext uri="{BB962C8B-B14F-4D97-AF65-F5344CB8AC3E}">
        <p14:creationId xmlns:p14="http://schemas.microsoft.com/office/powerpoint/2010/main" val="3181874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Enorm økning i datamengder – Verdien er i sammenstillingen</a:t>
            </a:r>
          </a:p>
          <a:p>
            <a:pPr lvl="1"/>
            <a:r>
              <a:rPr lang="nb-NO" dirty="0" smtClean="0"/>
              <a:t>Analyse og maskinlæring</a:t>
            </a:r>
          </a:p>
          <a:p>
            <a:pPr marL="0" marR="0" lvl="0" indent="0" algn="l" defTabSz="683951" rtl="0" eaLnBrk="1" fontAlgn="auto" latinLnBrk="0" hangingPunct="1">
              <a:lnSpc>
                <a:spcPct val="100000"/>
              </a:lnSpc>
              <a:spcBef>
                <a:spcPts val="0"/>
              </a:spcBef>
              <a:spcAft>
                <a:spcPts val="0"/>
              </a:spcAft>
              <a:buClrTx/>
              <a:buSzTx/>
              <a:buFontTx/>
              <a:buNone/>
              <a:tabLst/>
              <a:defRPr/>
            </a:pPr>
            <a:r>
              <a:rPr lang="nb-NO" dirty="0" smtClean="0"/>
              <a:t>Kostnadsutvikling – Hardware billigere, programvare og mennesker mer kostbart</a:t>
            </a:r>
          </a:p>
          <a:p>
            <a:endParaRPr lang="nb-NO" dirty="0" smtClean="0"/>
          </a:p>
          <a:p>
            <a:r>
              <a:rPr lang="nb-NO" dirty="0" smtClean="0"/>
              <a:t>Eks på</a:t>
            </a:r>
          </a:p>
          <a:p>
            <a:pPr marL="171450" indent="-171450">
              <a:buFontTx/>
              <a:buChar char="-"/>
            </a:pPr>
            <a:r>
              <a:rPr lang="nb-NO" dirty="0" smtClean="0"/>
              <a:t>Relasjoner mellom individer</a:t>
            </a:r>
          </a:p>
          <a:p>
            <a:pPr marL="171450" indent="-171450">
              <a:buFontTx/>
              <a:buChar char="-"/>
            </a:pPr>
            <a:r>
              <a:rPr lang="nb-NO" dirty="0" smtClean="0"/>
              <a:t>Antall endringer på Skattemeldingen</a:t>
            </a:r>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16</a:t>
            </a:fld>
            <a:endParaRPr lang="nb-NO"/>
          </a:p>
        </p:txBody>
      </p:sp>
    </p:spTree>
    <p:extLst>
      <p:ext uri="{BB962C8B-B14F-4D97-AF65-F5344CB8AC3E}">
        <p14:creationId xmlns:p14="http://schemas.microsoft.com/office/powerpoint/2010/main" val="24009639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https://www.engadget.com/2017/09/17/ai-alzheimers-early-detection/</a:t>
            </a:r>
          </a:p>
          <a:p>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17</a:t>
            </a:fld>
            <a:endParaRPr lang="nb-NO"/>
          </a:p>
        </p:txBody>
      </p:sp>
    </p:spTree>
    <p:extLst>
      <p:ext uri="{BB962C8B-B14F-4D97-AF65-F5344CB8AC3E}">
        <p14:creationId xmlns:p14="http://schemas.microsoft.com/office/powerpoint/2010/main" val="24155800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18</a:t>
            </a:fld>
            <a:endParaRPr lang="nb-NO"/>
          </a:p>
        </p:txBody>
      </p:sp>
    </p:spTree>
    <p:extLst>
      <p:ext uri="{BB962C8B-B14F-4D97-AF65-F5344CB8AC3E}">
        <p14:creationId xmlns:p14="http://schemas.microsoft.com/office/powerpoint/2010/main" val="5966817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Forsi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24040" y="2138898"/>
            <a:ext cx="7658373" cy="623248"/>
          </a:xfrm>
        </p:spPr>
        <p:txBody>
          <a:bodyPr wrap="square" anchor="b" anchorCtr="0">
            <a:normAutofit/>
          </a:bodyPr>
          <a:lstStyle>
            <a:lvl1pPr algn="l">
              <a:defRPr sz="4500"/>
            </a:lvl1pPr>
          </a:lstStyle>
          <a:p>
            <a:r>
              <a:rPr lang="nb-NO"/>
              <a:t>Klikk for å redigere tittelstil</a:t>
            </a:r>
            <a:endParaRPr lang="en-US"/>
          </a:p>
        </p:txBody>
      </p:sp>
      <p:sp>
        <p:nvSpPr>
          <p:cNvPr id="3" name="Subtitle 2"/>
          <p:cNvSpPr>
            <a:spLocks noGrp="1"/>
          </p:cNvSpPr>
          <p:nvPr>
            <p:ph type="subTitle" idx="1"/>
          </p:nvPr>
        </p:nvSpPr>
        <p:spPr>
          <a:xfrm>
            <a:off x="324041" y="2888749"/>
            <a:ext cx="6584760" cy="346249"/>
          </a:xfrm>
        </p:spPr>
        <p:txBody>
          <a:bodyPr wrap="square">
            <a:normAutofit/>
          </a:bodyPr>
          <a:lstStyle>
            <a:lvl1pPr marL="0" indent="0" algn="l">
              <a:buNone/>
              <a:defRPr sz="2500" b="1"/>
            </a:lvl1pPr>
            <a:lvl2pPr marL="340545" indent="0" algn="ctr">
              <a:buNone/>
              <a:defRPr sz="1500"/>
            </a:lvl2pPr>
            <a:lvl3pPr marL="681091" indent="0" algn="ctr">
              <a:buNone/>
              <a:defRPr sz="1300"/>
            </a:lvl3pPr>
            <a:lvl4pPr marL="1021636" indent="0" algn="ctr">
              <a:buNone/>
              <a:defRPr sz="1200"/>
            </a:lvl4pPr>
            <a:lvl5pPr marL="1362183" indent="0" algn="ctr">
              <a:buNone/>
              <a:defRPr sz="1200"/>
            </a:lvl5pPr>
            <a:lvl6pPr marL="1702727" indent="0" algn="ctr">
              <a:buNone/>
              <a:defRPr sz="1200"/>
            </a:lvl6pPr>
            <a:lvl7pPr marL="2043272" indent="0" algn="ctr">
              <a:buNone/>
              <a:defRPr sz="1200"/>
            </a:lvl7pPr>
            <a:lvl8pPr marL="2383818" indent="0" algn="ctr">
              <a:buNone/>
              <a:defRPr sz="1200"/>
            </a:lvl8pPr>
            <a:lvl9pPr marL="2724363" indent="0" algn="ctr">
              <a:buNone/>
              <a:defRPr sz="1200"/>
            </a:lvl9pPr>
          </a:lstStyle>
          <a:p>
            <a:r>
              <a:rPr lang="nb-NO"/>
              <a:t>Klikk for å redigere undertittelstil i malen</a:t>
            </a:r>
            <a:endParaRPr lang="en-US"/>
          </a:p>
        </p:txBody>
      </p:sp>
      <p:sp>
        <p:nvSpPr>
          <p:cNvPr id="9" name="Date Placeholder 3"/>
          <p:cNvSpPr>
            <a:spLocks noGrp="1"/>
          </p:cNvSpPr>
          <p:nvPr>
            <p:ph type="dt" sz="half" idx="10"/>
          </p:nvPr>
        </p:nvSpPr>
        <p:spPr>
          <a:xfrm>
            <a:off x="7462838" y="268201"/>
            <a:ext cx="1340263" cy="153888"/>
          </a:xfrm>
        </p:spPr>
        <p:txBody>
          <a:bodyPr>
            <a:spAutoFit/>
          </a:bodyPr>
          <a:lstStyle>
            <a:lvl1pPr algn="r">
              <a:defRPr sz="1000"/>
            </a:lvl1pPr>
          </a:lstStyle>
          <a:p>
            <a:fld id="{4ECF339B-DE26-4CB1-847D-D0F793D508DD}" type="datetime1">
              <a:rPr lang="nb-NO" smtClean="0"/>
              <a:t>13.10.2021</a:t>
            </a:fld>
            <a:endParaRPr lang="nb-NO"/>
          </a:p>
        </p:txBody>
      </p:sp>
      <p:sp>
        <p:nvSpPr>
          <p:cNvPr id="10"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1"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05722807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3688204"/>
            <a:ext cx="6364237" cy="1420371"/>
          </a:xfrm>
          <a:prstGeom prst="rect">
            <a:avLst/>
          </a:prstGeom>
        </p:spPr>
      </p:pic>
      <p:sp>
        <p:nvSpPr>
          <p:cNvPr id="2" name="Title 1"/>
          <p:cNvSpPr>
            <a:spLocks noGrp="1"/>
          </p:cNvSpPr>
          <p:nvPr>
            <p:ph type="title"/>
          </p:nvPr>
        </p:nvSpPr>
        <p:spPr>
          <a:xfrm>
            <a:off x="288036" y="268201"/>
            <a:ext cx="4789290" cy="346249"/>
          </a:xfrm>
        </p:spPr>
        <p:txBody>
          <a:bodyPr wrap="square">
            <a:normAutofit/>
          </a:bodyPr>
          <a:lstStyle>
            <a:lvl1pPr>
              <a:defRPr sz="2500"/>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1B64C1CA-9320-4112-886C-AAF9BAD3F488}" type="datetime1">
              <a:rPr lang="nb-NO" smtClean="0"/>
              <a:t>13.10.2021</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pic>
        <p:nvPicPr>
          <p:cNvPr id="14" name="Bilde 13"/>
          <p:cNvPicPr>
            <a:picLocks noChangeAspect="1"/>
          </p:cNvPicPr>
          <p:nvPr userDrawn="1"/>
        </p:nvPicPr>
        <p:blipFill rotWithShape="1">
          <a:blip r:embed="rId3">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38080234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3688204"/>
            <a:ext cx="6364237" cy="1420371"/>
          </a:xfrm>
          <a:prstGeom prst="rect">
            <a:avLst/>
          </a:prstGeom>
        </p:spPr>
      </p:pic>
      <p:sp>
        <p:nvSpPr>
          <p:cNvPr id="2" name="Title 1"/>
          <p:cNvSpPr>
            <a:spLocks noGrp="1"/>
          </p:cNvSpPr>
          <p:nvPr>
            <p:ph type="title"/>
          </p:nvPr>
        </p:nvSpPr>
        <p:spPr>
          <a:xfrm>
            <a:off x="288036" y="268201"/>
            <a:ext cx="4789290" cy="346249"/>
          </a:xfrm>
        </p:spPr>
        <p:txBody>
          <a:bodyPr wrap="square">
            <a:normAutofit/>
          </a:bodyPr>
          <a:lstStyle>
            <a:lvl1pPr>
              <a:defRPr sz="2500"/>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1B64C1CA-9320-4112-886C-AAF9BAD3F488}" type="datetime1">
              <a:rPr lang="nb-NO" smtClean="0"/>
              <a:t>13.10.2021</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pic>
        <p:nvPicPr>
          <p:cNvPr id="14" name="Bilde 13"/>
          <p:cNvPicPr>
            <a:picLocks noChangeAspect="1"/>
          </p:cNvPicPr>
          <p:nvPr userDrawn="1"/>
        </p:nvPicPr>
        <p:blipFill rotWithShape="1">
          <a:blip r:embed="rId3">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1453380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nhold uten tittel">
    <p:spTree>
      <p:nvGrpSpPr>
        <p:cNvPr id="1" name=""/>
        <p:cNvGrpSpPr/>
        <p:nvPr/>
      </p:nvGrpSpPr>
      <p:grpSpPr>
        <a:xfrm>
          <a:off x="0" y="0"/>
          <a:ext cx="0" cy="0"/>
          <a:chOff x="0" y="0"/>
          <a:chExt cx="0" cy="0"/>
        </a:xfrm>
      </p:grpSpPr>
      <p:sp>
        <p:nvSpPr>
          <p:cNvPr id="7" name="Content Placeholder 3"/>
          <p:cNvSpPr>
            <a:spLocks noGrp="1"/>
          </p:cNvSpPr>
          <p:nvPr>
            <p:ph sz="half" idx="2"/>
          </p:nvPr>
        </p:nvSpPr>
        <p:spPr>
          <a:xfrm>
            <a:off x="321980" y="1362459"/>
            <a:ext cx="8515018" cy="347453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12173DBC-4668-4C86-BB6C-D39D054CCB24}" type="datetime1">
              <a:rPr lang="nb-NO" smtClean="0"/>
              <a:t>13.10.2021</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1462610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Klikk for å redigere tittelstil</a:t>
            </a:r>
            <a:endParaRPr lang="en-US" dirty="0"/>
          </a:p>
        </p:txBody>
      </p:sp>
      <p:sp>
        <p:nvSpPr>
          <p:cNvPr id="3" name="Date Placeholder 2"/>
          <p:cNvSpPr>
            <a:spLocks noGrp="1"/>
          </p:cNvSpPr>
          <p:nvPr>
            <p:ph type="dt" sz="half" idx="10"/>
          </p:nvPr>
        </p:nvSpPr>
        <p:spPr/>
        <p:txBody>
          <a:bodyPr/>
          <a:lstStyle/>
          <a:p>
            <a:fld id="{1888B4D8-30BE-4278-A30B-1A30A290A96B}" type="datetime4">
              <a:rPr lang="nb-NO" smtClean="0">
                <a:solidFill>
                  <a:prstClr val="black"/>
                </a:solidFill>
              </a:rPr>
              <a:pPr/>
              <a:t>13. oktober 2021</a:t>
            </a:fld>
            <a:endParaRPr lang="nb-NO" dirty="0">
              <a:solidFill>
                <a:prstClr val="black"/>
              </a:solidFill>
            </a:endParaRPr>
          </a:p>
        </p:txBody>
      </p:sp>
      <p:sp>
        <p:nvSpPr>
          <p:cNvPr id="4" name="Footer Placeholder 3"/>
          <p:cNvSpPr>
            <a:spLocks noGrp="1"/>
          </p:cNvSpPr>
          <p:nvPr>
            <p:ph type="ftr" sz="quarter" idx="11"/>
          </p:nvPr>
        </p:nvSpPr>
        <p:spPr/>
        <p:txBody>
          <a:bodyPr/>
          <a:lstStyle/>
          <a:p>
            <a:endParaRPr lang="nb-NO" dirty="0">
              <a:solidFill>
                <a:prstClr val="black"/>
              </a:solidFill>
            </a:endParaRPr>
          </a:p>
        </p:txBody>
      </p:sp>
      <p:sp>
        <p:nvSpPr>
          <p:cNvPr id="5" name="Slide Number Placeholder 4"/>
          <p:cNvSpPr>
            <a:spLocks noGrp="1"/>
          </p:cNvSpPr>
          <p:nvPr>
            <p:ph type="sldNum" sz="quarter" idx="12"/>
          </p:nvPr>
        </p:nvSpPr>
        <p:spPr/>
        <p:txBody>
          <a:bodyPr/>
          <a:lstStyle/>
          <a:p>
            <a:fld id="{D8865200-363A-4A27-BFE2-9D2920C8E885}" type="slidenum">
              <a:rPr lang="nb-NO" smtClean="0">
                <a:solidFill>
                  <a:prstClr val="black"/>
                </a:solidFill>
              </a:rPr>
              <a:pPr/>
              <a:t>‹#›</a:t>
            </a:fld>
            <a:endParaRPr lang="nb-NO" dirty="0">
              <a:solidFill>
                <a:prstClr val="black"/>
              </a:solidFill>
            </a:endParaRPr>
          </a:p>
        </p:txBody>
      </p:sp>
    </p:spTree>
    <p:extLst>
      <p:ext uri="{BB962C8B-B14F-4D97-AF65-F5344CB8AC3E}">
        <p14:creationId xmlns:p14="http://schemas.microsoft.com/office/powerpoint/2010/main" val="259256211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Tom">
    <p:spTree>
      <p:nvGrpSpPr>
        <p:cNvPr id="1" name=""/>
        <p:cNvGrpSpPr/>
        <p:nvPr/>
      </p:nvGrpSpPr>
      <p:grpSpPr>
        <a:xfrm>
          <a:off x="0" y="0"/>
          <a:ext cx="0" cy="0"/>
          <a:chOff x="0" y="0"/>
          <a:chExt cx="0" cy="0"/>
        </a:xfrm>
      </p:grpSpPr>
      <p:sp>
        <p:nvSpPr>
          <p:cNvPr id="2" name="Slide Number Placeholder 4"/>
          <p:cNvSpPr>
            <a:spLocks noGrp="1"/>
          </p:cNvSpPr>
          <p:nvPr>
            <p:ph type="sldNum" sz="quarter" idx="10"/>
          </p:nvPr>
        </p:nvSpPr>
        <p:spPr>
          <a:xfrm>
            <a:off x="0" y="4752237"/>
            <a:ext cx="9145588" cy="356339"/>
          </a:xfrm>
        </p:spPr>
        <p:txBody>
          <a:bodyPr/>
          <a:lstStyle>
            <a:lvl1pPr>
              <a:defRPr/>
            </a:lvl1pPr>
          </a:lstStyle>
          <a:p>
            <a:pPr>
              <a:defRPr/>
            </a:pPr>
            <a:fld id="{40AFD12D-DE06-46D0-8216-235446804154}" type="slidenum">
              <a:rPr lang="en-US" altLang="nb-NO">
                <a:solidFill>
                  <a:srgbClr val="FFFFFF"/>
                </a:solidFill>
              </a:rPr>
              <a:pPr>
                <a:defRPr/>
              </a:pPr>
              <a:t>‹#›</a:t>
            </a:fld>
            <a:endParaRPr lang="en-US" altLang="nb-NO">
              <a:solidFill>
                <a:srgbClr val="FFFFFF"/>
              </a:solidFill>
            </a:endParaRPr>
          </a:p>
        </p:txBody>
      </p:sp>
    </p:spTree>
    <p:extLst>
      <p:ext uri="{BB962C8B-B14F-4D97-AF65-F5344CB8AC3E}">
        <p14:creationId xmlns:p14="http://schemas.microsoft.com/office/powerpoint/2010/main" val="2251774062"/>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kst og bilde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5" name="Date Placeholder 4"/>
          <p:cNvSpPr>
            <a:spLocks noGrp="1"/>
          </p:cNvSpPr>
          <p:nvPr>
            <p:ph type="dt" sz="half" idx="10"/>
          </p:nvPr>
        </p:nvSpPr>
        <p:spPr/>
        <p:txBody>
          <a:bodyPr/>
          <a:lstStyle/>
          <a:p>
            <a:fld id="{73843D7D-4E0F-407F-86DA-06DB501B0888}" type="datetime4">
              <a:rPr lang="nb-NO" smtClean="0"/>
              <a:t>13. oktober 2021</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4718342" y="1341002"/>
            <a:ext cx="4118656" cy="3495989"/>
          </a:xfrm>
          <a:prstGeom prst="rect">
            <a:avLst/>
          </a:prstGeom>
          <a:solidFill>
            <a:schemeClr val="bg2"/>
          </a:solidFill>
        </p:spPr>
        <p:txBody>
          <a:bodyPr lIns="0" tIns="0" rIns="0" bIns="670365" anchor="ctr" anchorCtr="1"/>
          <a:lstStyle>
            <a:lvl1pPr marL="0" indent="0">
              <a:buNone/>
              <a:defRPr/>
            </a:lvl1pPr>
          </a:lstStyle>
          <a:p>
            <a:r>
              <a:rPr lang="nb-NO" dirty="0"/>
              <a:t>Trykk for å endre bilde</a:t>
            </a:r>
          </a:p>
        </p:txBody>
      </p:sp>
      <p:sp>
        <p:nvSpPr>
          <p:cNvPr id="2" name="Tittel 1"/>
          <p:cNvSpPr>
            <a:spLocks noGrp="1"/>
          </p:cNvSpPr>
          <p:nvPr>
            <p:ph type="title"/>
          </p:nvPr>
        </p:nvSpPr>
        <p:spPr>
          <a:xfrm>
            <a:off x="321980" y="1296192"/>
            <a:ext cx="3796676" cy="987421"/>
          </a:xfrm>
        </p:spPr>
        <p:txBody>
          <a:bodyPr/>
          <a:lstStyle/>
          <a:p>
            <a:r>
              <a:rPr lang="nb-NO" dirty="0"/>
              <a:t>Klikk for å redigere tittelstil</a:t>
            </a:r>
          </a:p>
        </p:txBody>
      </p:sp>
    </p:spTree>
    <p:extLst>
      <p:ext uri="{BB962C8B-B14F-4D97-AF65-F5344CB8AC3E}">
        <p14:creationId xmlns:p14="http://schemas.microsoft.com/office/powerpoint/2010/main" val="9679895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C49A2095-D1C6-4098-B821-5D201A26CF2C}" type="datetime1">
              <a:rPr lang="nb-NO" smtClean="0"/>
              <a:t>13.10.2021</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25163519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nhold uten tittel">
    <p:spTree>
      <p:nvGrpSpPr>
        <p:cNvPr id="1" name=""/>
        <p:cNvGrpSpPr/>
        <p:nvPr/>
      </p:nvGrpSpPr>
      <p:grpSpPr>
        <a:xfrm>
          <a:off x="0" y="0"/>
          <a:ext cx="0" cy="0"/>
          <a:chOff x="0" y="0"/>
          <a:chExt cx="0" cy="0"/>
        </a:xfrm>
      </p:grpSpPr>
      <p:sp>
        <p:nvSpPr>
          <p:cNvPr id="7" name="Content Placeholder 3"/>
          <p:cNvSpPr>
            <a:spLocks noGrp="1"/>
          </p:cNvSpPr>
          <p:nvPr>
            <p:ph sz="half" idx="2"/>
          </p:nvPr>
        </p:nvSpPr>
        <p:spPr>
          <a:xfrm>
            <a:off x="321980" y="1362459"/>
            <a:ext cx="8515018" cy="347453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12173DBC-4668-4C86-BB6C-D39D054CCB24}" type="datetime1">
              <a:rPr lang="nb-NO" smtClean="0"/>
              <a:t>13.10.2021</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32650862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innhold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F41DCAA8-32D3-4B7F-AE3D-C5F579A62091}" type="datetime1">
              <a:rPr lang="nb-NO" smtClean="0"/>
              <a:t>13.10.2021</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2" name="Tittel 1"/>
          <p:cNvSpPr>
            <a:spLocks noGrp="1"/>
          </p:cNvSpPr>
          <p:nvPr>
            <p:ph type="title"/>
          </p:nvPr>
        </p:nvSpPr>
        <p:spPr>
          <a:xfrm>
            <a:off x="321980" y="1296192"/>
            <a:ext cx="3796676" cy="987421"/>
          </a:xfrm>
        </p:spPr>
        <p:txBody>
          <a:bodyPr/>
          <a:lstStyle/>
          <a:p>
            <a:r>
              <a:rPr lang="nb-NO"/>
              <a:t>Klikk for å redigere tittelstil</a:t>
            </a:r>
          </a:p>
        </p:txBody>
      </p:sp>
      <p:sp>
        <p:nvSpPr>
          <p:cNvPr id="3" name="Plassholder for innhold 2"/>
          <p:cNvSpPr>
            <a:spLocks noGrp="1"/>
          </p:cNvSpPr>
          <p:nvPr>
            <p:ph sz="quarter" idx="14"/>
          </p:nvPr>
        </p:nvSpPr>
        <p:spPr>
          <a:xfrm>
            <a:off x="4718342" y="1341002"/>
            <a:ext cx="4118656" cy="3495989"/>
          </a:xfrm>
          <a:prstGeom prst="rect">
            <a:avLst/>
          </a:prstGeom>
        </p:spPr>
        <p:txBody>
          <a:bodyPr lIns="0" tIns="0" rIns="0" bIns="670365"/>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837101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 innhold uten tittel">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13D7FBC7-EDA8-4D0B-8AC9-76D4E6BEDF6A}" type="datetime1">
              <a:rPr lang="nb-NO" smtClean="0"/>
              <a:t>13.10.2021</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4" name="Plassholder for innhold 3"/>
          <p:cNvSpPr>
            <a:spLocks noGrp="1"/>
          </p:cNvSpPr>
          <p:nvPr>
            <p:ph sz="quarter" idx="16"/>
          </p:nvPr>
        </p:nvSpPr>
        <p:spPr>
          <a:xfrm>
            <a:off x="321979" y="1362459"/>
            <a:ext cx="4118656" cy="3474533"/>
          </a:xfrm>
          <a:prstGeom prst="rect">
            <a:avLst/>
          </a:prstGeom>
        </p:spPr>
        <p:txBody>
          <a:bodyPr lIns="0" tIns="0" rIns="0" bIns="670365"/>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innhold 7"/>
          <p:cNvSpPr>
            <a:spLocks noGrp="1"/>
          </p:cNvSpPr>
          <p:nvPr>
            <p:ph sz="quarter" idx="17"/>
          </p:nvPr>
        </p:nvSpPr>
        <p:spPr>
          <a:xfrm>
            <a:off x="4718342" y="1362459"/>
            <a:ext cx="4118656" cy="3474533"/>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95629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5"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0C27853C-4794-44B2-A8FB-82E8C67B7A42}" type="datetime1">
              <a:rPr lang="nb-NO" smtClean="0"/>
              <a:t>13.10.2021</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7995043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sz="half" idx="1"/>
          </p:nvPr>
        </p:nvSpPr>
        <p:spPr>
          <a:xfrm>
            <a:off x="321979"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Content Placeholder 3"/>
          <p:cNvSpPr>
            <a:spLocks noGrp="1"/>
          </p:cNvSpPr>
          <p:nvPr>
            <p:ph sz="half" idx="2"/>
          </p:nvPr>
        </p:nvSpPr>
        <p:spPr>
          <a:xfrm>
            <a:off x="4718342"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94DE49DE-99D8-4BB8-B854-D2D30117EC25}" type="datetime1">
              <a:rPr lang="nb-NO" smtClean="0"/>
              <a:t>13.10.2021</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25809676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979" y="2283613"/>
            <a:ext cx="4118656" cy="613739"/>
          </a:xfrm>
        </p:spPr>
        <p:txBody>
          <a:bodyPr anchor="b"/>
          <a:lstStyle>
            <a:lvl1pPr marL="0" indent="0">
              <a:buNone/>
              <a:defRPr sz="1800" b="1"/>
            </a:lvl1pPr>
            <a:lvl2pPr marL="340545" indent="0">
              <a:buNone/>
              <a:defRPr sz="1500" b="1"/>
            </a:lvl2pPr>
            <a:lvl3pPr marL="681091" indent="0">
              <a:buNone/>
              <a:defRPr sz="1300" b="1"/>
            </a:lvl3pPr>
            <a:lvl4pPr marL="1021636" indent="0">
              <a:buNone/>
              <a:defRPr sz="1200" b="1"/>
            </a:lvl4pPr>
            <a:lvl5pPr marL="1362183" indent="0">
              <a:buNone/>
              <a:defRPr sz="1200" b="1"/>
            </a:lvl5pPr>
            <a:lvl6pPr marL="1702727" indent="0">
              <a:buNone/>
              <a:defRPr sz="1200" b="1"/>
            </a:lvl6pPr>
            <a:lvl7pPr marL="2043272" indent="0">
              <a:buNone/>
              <a:defRPr sz="1200" b="1"/>
            </a:lvl7pPr>
            <a:lvl8pPr marL="2383818" indent="0">
              <a:buNone/>
              <a:defRPr sz="1200" b="1"/>
            </a:lvl8pPr>
            <a:lvl9pPr marL="2724363" indent="0">
              <a:buNone/>
              <a:defRPr sz="1200" b="1"/>
            </a:lvl9pPr>
          </a:lstStyle>
          <a:p>
            <a:pPr lvl="0"/>
            <a:r>
              <a:rPr lang="nb-NO"/>
              <a:t>Klikk for å redigere tekststiler i malen</a:t>
            </a:r>
          </a:p>
        </p:txBody>
      </p:sp>
      <p:sp>
        <p:nvSpPr>
          <p:cNvPr id="5" name="Text Placeholder 4"/>
          <p:cNvSpPr>
            <a:spLocks noGrp="1"/>
          </p:cNvSpPr>
          <p:nvPr>
            <p:ph type="body" sz="quarter" idx="3"/>
          </p:nvPr>
        </p:nvSpPr>
        <p:spPr>
          <a:xfrm>
            <a:off x="4718342" y="2283613"/>
            <a:ext cx="4118656" cy="613739"/>
          </a:xfrm>
        </p:spPr>
        <p:txBody>
          <a:bodyPr anchor="b"/>
          <a:lstStyle>
            <a:lvl1pPr marL="0" indent="0">
              <a:buNone/>
              <a:defRPr sz="1800" b="1"/>
            </a:lvl1pPr>
            <a:lvl2pPr marL="340545" indent="0">
              <a:buNone/>
              <a:defRPr sz="1500" b="1"/>
            </a:lvl2pPr>
            <a:lvl3pPr marL="681091" indent="0">
              <a:buNone/>
              <a:defRPr sz="1300" b="1"/>
            </a:lvl3pPr>
            <a:lvl4pPr marL="1021636" indent="0">
              <a:buNone/>
              <a:defRPr sz="1200" b="1"/>
            </a:lvl4pPr>
            <a:lvl5pPr marL="1362183" indent="0">
              <a:buNone/>
              <a:defRPr sz="1200" b="1"/>
            </a:lvl5pPr>
            <a:lvl6pPr marL="1702727" indent="0">
              <a:buNone/>
              <a:defRPr sz="1200" b="1"/>
            </a:lvl6pPr>
            <a:lvl7pPr marL="2043272" indent="0">
              <a:buNone/>
              <a:defRPr sz="1200" b="1"/>
            </a:lvl7pPr>
            <a:lvl8pPr marL="2383818" indent="0">
              <a:buNone/>
              <a:defRPr sz="1200" b="1"/>
            </a:lvl8pPr>
            <a:lvl9pPr marL="2724363" indent="0">
              <a:buNone/>
              <a:defRPr sz="1200" b="1"/>
            </a:lvl9pPr>
          </a:lstStyle>
          <a:p>
            <a:pPr lvl="0"/>
            <a:r>
              <a:rPr lang="nb-NO"/>
              <a:t>Klikk for å redigere tekststiler i malen</a:t>
            </a:r>
          </a:p>
        </p:txBody>
      </p:sp>
      <p:sp>
        <p:nvSpPr>
          <p:cNvPr id="7" name="Date Placeholder 6"/>
          <p:cNvSpPr>
            <a:spLocks noGrp="1"/>
          </p:cNvSpPr>
          <p:nvPr>
            <p:ph type="dt" sz="half" idx="10"/>
          </p:nvPr>
        </p:nvSpPr>
        <p:spPr/>
        <p:txBody>
          <a:bodyPr/>
          <a:lstStyle/>
          <a:p>
            <a:fld id="{EC0C6847-D9A7-4046-85F2-BF34B6C61E96}" type="datetime1">
              <a:rPr lang="nb-NO" smtClean="0"/>
              <a:t>13.10.2021</a:t>
            </a:fld>
            <a:endParaRPr lang="nb-NO"/>
          </a:p>
        </p:txBody>
      </p:sp>
      <p:sp>
        <p:nvSpPr>
          <p:cNvPr id="8" name="Footer Placeholder 7"/>
          <p:cNvSpPr>
            <a:spLocks noGrp="1"/>
          </p:cNvSpPr>
          <p:nvPr>
            <p:ph type="ftr" sz="quarter" idx="11"/>
          </p:nvPr>
        </p:nvSpPr>
        <p:spPr/>
        <p:txBody>
          <a:bodyPr/>
          <a:lstStyle/>
          <a:p>
            <a:endParaRPr lang="nb-NO"/>
          </a:p>
        </p:txBody>
      </p:sp>
      <p:sp>
        <p:nvSpPr>
          <p:cNvPr id="9" name="Slide Number Placeholder 8"/>
          <p:cNvSpPr>
            <a:spLocks noGrp="1"/>
          </p:cNvSpPr>
          <p:nvPr>
            <p:ph type="sldNum" sz="quarter" idx="12"/>
          </p:nvPr>
        </p:nvSpPr>
        <p:spPr/>
        <p:txBody>
          <a:bodyPr/>
          <a:lstStyle/>
          <a:p>
            <a:fld id="{D8865200-363A-4A27-BFE2-9D2920C8E885}" type="slidenum">
              <a:rPr lang="nb-NO" smtClean="0"/>
              <a:t>‹#›</a:t>
            </a:fld>
            <a:endParaRPr lang="nb-NO"/>
          </a:p>
        </p:txBody>
      </p:sp>
      <p:sp>
        <p:nvSpPr>
          <p:cNvPr id="10" name="Tittel 9"/>
          <p:cNvSpPr>
            <a:spLocks noGrp="1"/>
          </p:cNvSpPr>
          <p:nvPr>
            <p:ph type="title"/>
          </p:nvPr>
        </p:nvSpPr>
        <p:spPr/>
        <p:txBody>
          <a:bodyPr/>
          <a:lstStyle/>
          <a:p>
            <a:r>
              <a:rPr lang="nb-NO"/>
              <a:t>Klikk for å redigere tittelstil</a:t>
            </a:r>
          </a:p>
        </p:txBody>
      </p:sp>
      <p:sp>
        <p:nvSpPr>
          <p:cNvPr id="11" name="Content Placeholder 2"/>
          <p:cNvSpPr>
            <a:spLocks noGrp="1"/>
          </p:cNvSpPr>
          <p:nvPr>
            <p:ph sz="half" idx="13"/>
          </p:nvPr>
        </p:nvSpPr>
        <p:spPr>
          <a:xfrm>
            <a:off x="321979" y="2897350"/>
            <a:ext cx="4118656" cy="19396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2" name="Content Placeholder 2"/>
          <p:cNvSpPr>
            <a:spLocks noGrp="1"/>
          </p:cNvSpPr>
          <p:nvPr>
            <p:ph sz="half" idx="14"/>
          </p:nvPr>
        </p:nvSpPr>
        <p:spPr>
          <a:xfrm>
            <a:off x="4718342" y="2897350"/>
            <a:ext cx="4118656" cy="19396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36368680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Date Placeholder 2"/>
          <p:cNvSpPr>
            <a:spLocks noGrp="1"/>
          </p:cNvSpPr>
          <p:nvPr>
            <p:ph type="dt" sz="half" idx="10"/>
          </p:nvPr>
        </p:nvSpPr>
        <p:spPr/>
        <p:txBody>
          <a:bodyPr/>
          <a:lstStyle/>
          <a:p>
            <a:fld id="{7B6A9958-587B-4A8F-AC94-6255560209F3}" type="datetime1">
              <a:rPr lang="nb-NO" smtClean="0"/>
              <a:t>13.10.2021</a:t>
            </a:fld>
            <a:endParaRPr lang="nb-NO"/>
          </a:p>
        </p:txBody>
      </p:sp>
      <p:sp>
        <p:nvSpPr>
          <p:cNvPr id="4" name="Footer Placeholder 3"/>
          <p:cNvSpPr>
            <a:spLocks noGrp="1"/>
          </p:cNvSpPr>
          <p:nvPr>
            <p:ph type="ftr" sz="quarter" idx="11"/>
          </p:nvPr>
        </p:nvSpPr>
        <p:spPr/>
        <p:txBody>
          <a:bodyPr/>
          <a:lstStyle/>
          <a:p>
            <a:endParaRPr lang="nb-NO"/>
          </a:p>
        </p:txBody>
      </p:sp>
      <p:sp>
        <p:nvSpPr>
          <p:cNvPr id="5" name="Slide Number Placeholder 4"/>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38544893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Åpen">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83DB426-8989-4786-A724-C5FC83653E2E}" type="datetime1">
              <a:rPr lang="nb-NO" smtClean="0"/>
              <a:t>13.10.2021</a:t>
            </a:fld>
            <a:endParaRPr lang="nb-NO"/>
          </a:p>
        </p:txBody>
      </p:sp>
      <p:sp>
        <p:nvSpPr>
          <p:cNvPr id="3" name="Footer Placeholder 2"/>
          <p:cNvSpPr>
            <a:spLocks noGrp="1"/>
          </p:cNvSpPr>
          <p:nvPr>
            <p:ph type="ftr" sz="quarter" idx="11"/>
          </p:nvPr>
        </p:nvSpPr>
        <p:spPr/>
        <p:txBody>
          <a:bodyPr/>
          <a:lstStyle/>
          <a:p>
            <a:endParaRPr lang="nb-NO"/>
          </a:p>
        </p:txBody>
      </p:sp>
      <p:sp>
        <p:nvSpPr>
          <p:cNvPr id="4" name="Slide Number Placeholder 3"/>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30383856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lde og teks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718342" y="1362459"/>
            <a:ext cx="4118656" cy="347453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BCD0EA84-7D25-4D44-8510-37A6200FFD05}" type="datetime1">
              <a:rPr lang="nb-NO" smtClean="0"/>
              <a:t>13.10.2021</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321979" y="1362459"/>
            <a:ext cx="4118656" cy="3474533"/>
          </a:xfrm>
          <a:prstGeom prst="rect">
            <a:avLst/>
          </a:prstGeom>
          <a:solidFill>
            <a:schemeClr val="bg2"/>
          </a:solidFill>
        </p:spPr>
        <p:txBody>
          <a:bodyPr lIns="0" tIns="0" rIns="0" bIns="670365" anchor="ctr" anchorCtr="1"/>
          <a:lstStyle>
            <a:lvl1pPr marL="0" indent="0">
              <a:buNone/>
              <a:defRPr/>
            </a:lvl1pPr>
          </a:lstStyle>
          <a:p>
            <a:r>
              <a:rPr lang="nb-NO"/>
              <a:t>Trykk for å endre bilde</a:t>
            </a:r>
          </a:p>
        </p:txBody>
      </p:sp>
    </p:spTree>
    <p:extLst>
      <p:ext uri="{BB962C8B-B14F-4D97-AF65-F5344CB8AC3E}">
        <p14:creationId xmlns:p14="http://schemas.microsoft.com/office/powerpoint/2010/main" val="17480196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lde og tekst #2">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718342" y="2073189"/>
            <a:ext cx="4118656" cy="275307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9665C14B-7B22-4C7A-8A54-C2A98FCECE8E}" type="datetime1">
              <a:rPr lang="nb-NO" smtClean="0"/>
              <a:t>13.10.2021</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321979" y="2073189"/>
            <a:ext cx="4118656" cy="2753075"/>
          </a:xfrm>
          <a:prstGeom prst="rect">
            <a:avLst/>
          </a:prstGeom>
          <a:solidFill>
            <a:schemeClr val="bg2"/>
          </a:solidFill>
        </p:spPr>
        <p:txBody>
          <a:bodyPr lIns="0" tIns="0" rIns="0" bIns="670365" anchor="ctr" anchorCtr="1"/>
          <a:lstStyle>
            <a:lvl1pPr marL="0" indent="0">
              <a:buNone/>
              <a:defRPr/>
            </a:lvl1pPr>
          </a:lstStyle>
          <a:p>
            <a:r>
              <a:rPr lang="nb-NO"/>
              <a:t>Trykk for å endre bilde</a:t>
            </a:r>
          </a:p>
        </p:txBody>
      </p:sp>
    </p:spTree>
    <p:extLst>
      <p:ext uri="{BB962C8B-B14F-4D97-AF65-F5344CB8AC3E}">
        <p14:creationId xmlns:p14="http://schemas.microsoft.com/office/powerpoint/2010/main" val="29986706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og bilde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85B361EF-0C76-46DB-8746-2D3F8B49FB3C}" type="datetime1">
              <a:rPr lang="nb-NO" smtClean="0"/>
              <a:t>13.10.2021</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4718342" y="1341002"/>
            <a:ext cx="4118656" cy="3495989"/>
          </a:xfrm>
          <a:prstGeom prst="rect">
            <a:avLst/>
          </a:prstGeom>
          <a:solidFill>
            <a:schemeClr val="bg2"/>
          </a:solidFill>
        </p:spPr>
        <p:txBody>
          <a:bodyPr lIns="0" tIns="0" rIns="0" bIns="670365" anchor="ctr" anchorCtr="1"/>
          <a:lstStyle>
            <a:lvl1pPr marL="0" indent="0">
              <a:buNone/>
              <a:defRPr/>
            </a:lvl1pPr>
          </a:lstStyle>
          <a:p>
            <a:r>
              <a:rPr lang="nb-NO"/>
              <a:t>Trykk for å endre bilde</a:t>
            </a:r>
          </a:p>
        </p:txBody>
      </p:sp>
      <p:sp>
        <p:nvSpPr>
          <p:cNvPr id="2" name="Tittel 1"/>
          <p:cNvSpPr>
            <a:spLocks noGrp="1"/>
          </p:cNvSpPr>
          <p:nvPr>
            <p:ph type="title"/>
          </p:nvPr>
        </p:nvSpPr>
        <p:spPr>
          <a:xfrm>
            <a:off x="321980" y="1296192"/>
            <a:ext cx="3796676" cy="987421"/>
          </a:xfrm>
        </p:spPr>
        <p:txBody>
          <a:bodyPr/>
          <a:lstStyle/>
          <a:p>
            <a:r>
              <a:rPr lang="nb-NO"/>
              <a:t>Klikk for å redigere tittelstil</a:t>
            </a:r>
          </a:p>
        </p:txBody>
      </p:sp>
    </p:spTree>
    <p:extLst>
      <p:ext uri="{BB962C8B-B14F-4D97-AF65-F5344CB8AC3E}">
        <p14:creationId xmlns:p14="http://schemas.microsoft.com/office/powerpoint/2010/main" val="26424108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og bild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1341002"/>
            <a:ext cx="3796676" cy="349598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DDAC5CCC-DC88-4883-904A-262AEBD18467}" type="datetime1">
              <a:rPr lang="nb-NO" smtClean="0"/>
              <a:t>13.10.2021</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4718342" y="1341002"/>
            <a:ext cx="4118656" cy="3495989"/>
          </a:xfrm>
          <a:prstGeom prst="rect">
            <a:avLst/>
          </a:prstGeom>
          <a:solidFill>
            <a:schemeClr val="bg2"/>
          </a:solidFill>
        </p:spPr>
        <p:txBody>
          <a:bodyPr lIns="0" tIns="0" rIns="0" bIns="670365" anchor="ctr" anchorCtr="1"/>
          <a:lstStyle>
            <a:lvl1pPr marL="0" indent="0">
              <a:buNone/>
              <a:defRPr/>
            </a:lvl1pPr>
          </a:lstStyle>
          <a:p>
            <a:r>
              <a:rPr lang="nb-NO"/>
              <a:t>Trykk for å endre bilde</a:t>
            </a:r>
          </a:p>
        </p:txBody>
      </p:sp>
    </p:spTree>
    <p:extLst>
      <p:ext uri="{BB962C8B-B14F-4D97-AF65-F5344CB8AC3E}">
        <p14:creationId xmlns:p14="http://schemas.microsoft.com/office/powerpoint/2010/main" val="19360773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5"/>
          <p:cNvSpPr>
            <a:spLocks noGrp="1"/>
          </p:cNvSpPr>
          <p:nvPr>
            <p:ph type="pic" sz="quarter" idx="13" hasCustomPrompt="1"/>
          </p:nvPr>
        </p:nvSpPr>
        <p:spPr>
          <a:xfrm>
            <a:off x="0" y="0"/>
            <a:ext cx="9145588" cy="5108575"/>
          </a:xfrm>
          <a:solidFill>
            <a:schemeClr val="bg2"/>
          </a:solidFill>
        </p:spPr>
        <p:txBody>
          <a:bodyPr bIns="670365" anchor="ctr" anchorCtr="1"/>
          <a:lstStyle>
            <a:lvl1pPr marL="0" indent="0">
              <a:buNone/>
              <a:defRPr baseline="0"/>
            </a:lvl1pPr>
          </a:lstStyle>
          <a:p>
            <a:r>
              <a:rPr lang="nb-NO"/>
              <a:t>Trykk for å endre bilde</a:t>
            </a:r>
          </a:p>
        </p:txBody>
      </p:sp>
    </p:spTree>
    <p:extLst>
      <p:ext uri="{BB962C8B-B14F-4D97-AF65-F5344CB8AC3E}">
        <p14:creationId xmlns:p14="http://schemas.microsoft.com/office/powerpoint/2010/main" val="3580868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6" name="Plassholder for media 5"/>
          <p:cNvSpPr>
            <a:spLocks noGrp="1"/>
          </p:cNvSpPr>
          <p:nvPr>
            <p:ph type="media" sz="quarter" idx="10" hasCustomPrompt="1"/>
          </p:nvPr>
        </p:nvSpPr>
        <p:spPr>
          <a:xfrm>
            <a:off x="0" y="0"/>
            <a:ext cx="9145588" cy="5108575"/>
          </a:xfrm>
          <a:solidFill>
            <a:schemeClr val="bg2">
              <a:lumMod val="75000"/>
            </a:schemeClr>
          </a:solidFill>
        </p:spPr>
        <p:txBody>
          <a:bodyPr bIns="670365" anchor="ctr" anchorCtr="1"/>
          <a:lstStyle>
            <a:lvl1pPr marL="0" indent="0">
              <a:buNone/>
              <a:defRPr baseline="0"/>
            </a:lvl1pPr>
          </a:lstStyle>
          <a:p>
            <a:r>
              <a:rPr lang="nb-NO"/>
              <a:t>Trykk for å sette inn video</a:t>
            </a:r>
          </a:p>
        </p:txBody>
      </p:sp>
    </p:spTree>
    <p:extLst>
      <p:ext uri="{BB962C8B-B14F-4D97-AF65-F5344CB8AC3E}">
        <p14:creationId xmlns:p14="http://schemas.microsoft.com/office/powerpoint/2010/main" val="31028717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5"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0C27853C-4794-44B2-A8FB-82E8C67B7A42}" type="datetime1">
              <a:rPr lang="nb-NO" smtClean="0"/>
              <a:t>13.10.2021</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5888354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35634996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Bare tittel - liten">
    <p:spTree>
      <p:nvGrpSpPr>
        <p:cNvPr id="1" name=""/>
        <p:cNvGrpSpPr/>
        <p:nvPr/>
      </p:nvGrpSpPr>
      <p:grpSpPr>
        <a:xfrm>
          <a:off x="0" y="0"/>
          <a:ext cx="0" cy="0"/>
          <a:chOff x="0" y="0"/>
          <a:chExt cx="0" cy="0"/>
        </a:xfrm>
      </p:grpSpPr>
      <p:sp>
        <p:nvSpPr>
          <p:cNvPr id="2" name="Title 1"/>
          <p:cNvSpPr>
            <a:spLocks noGrp="1"/>
          </p:cNvSpPr>
          <p:nvPr>
            <p:ph type="title"/>
          </p:nvPr>
        </p:nvSpPr>
        <p:spPr>
          <a:xfrm>
            <a:off x="950631" y="254793"/>
            <a:ext cx="7190070" cy="272258"/>
          </a:xfrm>
        </p:spPr>
        <p:txBody>
          <a:bodyPr>
            <a:normAutofit/>
          </a:bodyPr>
          <a:lstStyle>
            <a:lvl1pPr>
              <a:defRPr sz="1788"/>
            </a:lvl1pPr>
          </a:lstStyle>
          <a:p>
            <a:r>
              <a:rPr lang="nb-NO"/>
              <a:t>Klikk for å redigere tittelstil</a:t>
            </a:r>
            <a:endParaRPr lang="en-US"/>
          </a:p>
        </p:txBody>
      </p:sp>
    </p:spTree>
    <p:extLst>
      <p:ext uri="{BB962C8B-B14F-4D97-AF65-F5344CB8AC3E}">
        <p14:creationId xmlns:p14="http://schemas.microsoft.com/office/powerpoint/2010/main" val="30938386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tel og innhold - liten">
    <p:spTree>
      <p:nvGrpSpPr>
        <p:cNvPr id="1" name=""/>
        <p:cNvGrpSpPr/>
        <p:nvPr/>
      </p:nvGrpSpPr>
      <p:grpSpPr>
        <a:xfrm>
          <a:off x="0" y="0"/>
          <a:ext cx="0" cy="0"/>
          <a:chOff x="0" y="0"/>
          <a:chExt cx="0" cy="0"/>
        </a:xfrm>
      </p:grpSpPr>
      <p:sp>
        <p:nvSpPr>
          <p:cNvPr id="2" name="Title 1"/>
          <p:cNvSpPr>
            <a:spLocks noGrp="1"/>
          </p:cNvSpPr>
          <p:nvPr>
            <p:ph type="title"/>
          </p:nvPr>
        </p:nvSpPr>
        <p:spPr>
          <a:xfrm>
            <a:off x="950631" y="254793"/>
            <a:ext cx="7190070" cy="272258"/>
          </a:xfrm>
        </p:spPr>
        <p:txBody>
          <a:bodyPr>
            <a:normAutofit/>
          </a:bodyPr>
          <a:lstStyle>
            <a:lvl1pPr>
              <a:defRPr sz="1788"/>
            </a:lvl1pPr>
          </a:lstStyle>
          <a:p>
            <a:r>
              <a:rPr lang="nb-NO"/>
              <a:t>Klikk for å redigere tittelstil</a:t>
            </a:r>
            <a:endParaRPr lang="en-US"/>
          </a:p>
        </p:txBody>
      </p:sp>
      <p:sp>
        <p:nvSpPr>
          <p:cNvPr id="4" name="Content Placeholder 3"/>
          <p:cNvSpPr>
            <a:spLocks noGrp="1"/>
          </p:cNvSpPr>
          <p:nvPr>
            <p:ph sz="half" idx="2"/>
          </p:nvPr>
        </p:nvSpPr>
        <p:spPr>
          <a:xfrm>
            <a:off x="321980" y="1362459"/>
            <a:ext cx="8515018" cy="3474533"/>
          </a:xfrm>
        </p:spPr>
        <p:txBody>
          <a:bodyPr>
            <a:normAutofit/>
          </a:bodyPr>
          <a:lstStyle>
            <a:lvl1pPr>
              <a:spcBef>
                <a:spcPts val="592"/>
              </a:spcBef>
              <a:defRPr sz="1564"/>
            </a:lvl1pPr>
            <a:lvl2pPr>
              <a:spcBef>
                <a:spcPts val="197"/>
              </a:spcBef>
              <a:defRPr sz="1415"/>
            </a:lvl2pPr>
            <a:lvl3pPr>
              <a:spcBef>
                <a:spcPts val="98"/>
              </a:spcBef>
              <a:defRPr sz="1415"/>
            </a:lvl3pPr>
            <a:lvl4pPr>
              <a:spcBef>
                <a:spcPts val="98"/>
              </a:spcBef>
              <a:defRPr sz="1192"/>
            </a:lvl4pPr>
            <a:lvl5pPr>
              <a:spcBef>
                <a:spcPts val="98"/>
              </a:spcBef>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10479468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nhold uten tittel - liten">
    <p:spTree>
      <p:nvGrpSpPr>
        <p:cNvPr id="1" name=""/>
        <p:cNvGrpSpPr/>
        <p:nvPr/>
      </p:nvGrpSpPr>
      <p:grpSpPr>
        <a:xfrm>
          <a:off x="0" y="0"/>
          <a:ext cx="0" cy="0"/>
          <a:chOff x="0" y="0"/>
          <a:chExt cx="0" cy="0"/>
        </a:xfrm>
      </p:grpSpPr>
      <p:sp>
        <p:nvSpPr>
          <p:cNvPr id="3" name="Content Placeholder 3"/>
          <p:cNvSpPr>
            <a:spLocks noGrp="1"/>
          </p:cNvSpPr>
          <p:nvPr>
            <p:ph sz="half" idx="2"/>
          </p:nvPr>
        </p:nvSpPr>
        <p:spPr>
          <a:xfrm>
            <a:off x="321980" y="1362459"/>
            <a:ext cx="8515018" cy="3474533"/>
          </a:xfrm>
        </p:spPr>
        <p:txBody>
          <a:bodyPr>
            <a:normAutofit/>
          </a:bodyPr>
          <a:lstStyle>
            <a:lvl1pPr>
              <a:spcBef>
                <a:spcPts val="592"/>
              </a:spcBef>
              <a:defRPr sz="1564"/>
            </a:lvl1pPr>
            <a:lvl2pPr>
              <a:spcBef>
                <a:spcPts val="197"/>
              </a:spcBef>
              <a:defRPr sz="1415"/>
            </a:lvl2pPr>
            <a:lvl3pPr>
              <a:spcBef>
                <a:spcPts val="98"/>
              </a:spcBef>
              <a:defRPr sz="1415"/>
            </a:lvl3pPr>
            <a:lvl4pPr>
              <a:spcBef>
                <a:spcPts val="98"/>
              </a:spcBef>
              <a:defRPr sz="1192"/>
            </a:lvl4pPr>
            <a:lvl5pPr>
              <a:spcBef>
                <a:spcPts val="98"/>
              </a:spcBef>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9744180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 innhold med tittel - liten">
    <p:spTree>
      <p:nvGrpSpPr>
        <p:cNvPr id="1" name=""/>
        <p:cNvGrpSpPr/>
        <p:nvPr/>
      </p:nvGrpSpPr>
      <p:grpSpPr>
        <a:xfrm>
          <a:off x="0" y="0"/>
          <a:ext cx="0" cy="0"/>
          <a:chOff x="0" y="0"/>
          <a:chExt cx="0" cy="0"/>
        </a:xfrm>
      </p:grpSpPr>
      <p:sp>
        <p:nvSpPr>
          <p:cNvPr id="4" name="Plassholder for innhold 3"/>
          <p:cNvSpPr>
            <a:spLocks noGrp="1"/>
          </p:cNvSpPr>
          <p:nvPr>
            <p:ph sz="quarter" idx="16"/>
          </p:nvPr>
        </p:nvSpPr>
        <p:spPr>
          <a:xfrm>
            <a:off x="321979" y="1362459"/>
            <a:ext cx="4118656" cy="3474533"/>
          </a:xfrm>
          <a:prstGeom prst="rect">
            <a:avLst/>
          </a:prstGeom>
        </p:spPr>
        <p:txBody>
          <a:bodyPr lIns="0" tIns="0" rIns="0" bIns="670365">
            <a:normAutofit/>
          </a:bodyPr>
          <a:lstStyle>
            <a:lvl1pPr>
              <a:spcBef>
                <a:spcPts val="592"/>
              </a:spcBef>
              <a:defRPr sz="1564"/>
            </a:lvl1pPr>
            <a:lvl2pPr>
              <a:defRPr sz="1415"/>
            </a:lvl2pPr>
            <a:lvl3pPr>
              <a:defRPr sz="1415"/>
            </a:lvl3pPr>
            <a:lvl4pPr>
              <a:defRPr sz="1192"/>
            </a:lvl4pPr>
            <a:lvl5pPr>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innhold 7"/>
          <p:cNvSpPr>
            <a:spLocks noGrp="1"/>
          </p:cNvSpPr>
          <p:nvPr>
            <p:ph sz="quarter" idx="17"/>
          </p:nvPr>
        </p:nvSpPr>
        <p:spPr>
          <a:xfrm>
            <a:off x="4718342" y="1362459"/>
            <a:ext cx="4118656" cy="3474533"/>
          </a:xfrm>
          <a:prstGeom prst="rect">
            <a:avLst/>
          </a:prstGeom>
        </p:spPr>
        <p:txBody>
          <a:bodyPr lIns="0" tIns="0" rIns="0" bIns="0">
            <a:normAutofit/>
          </a:bodyPr>
          <a:lstStyle>
            <a:lvl1pPr>
              <a:defRPr sz="1564"/>
            </a:lvl1pPr>
            <a:lvl2pPr>
              <a:defRPr sz="1415"/>
            </a:lvl2pPr>
            <a:lvl3pPr>
              <a:defRPr sz="1415"/>
            </a:lvl3pPr>
            <a:lvl4pPr>
              <a:defRPr sz="1192"/>
            </a:lvl4pPr>
            <a:lvl5pPr>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Title 1"/>
          <p:cNvSpPr>
            <a:spLocks noGrp="1"/>
          </p:cNvSpPr>
          <p:nvPr>
            <p:ph type="title"/>
          </p:nvPr>
        </p:nvSpPr>
        <p:spPr>
          <a:xfrm>
            <a:off x="950631" y="254793"/>
            <a:ext cx="7190070" cy="272258"/>
          </a:xfrm>
        </p:spPr>
        <p:txBody>
          <a:bodyPr>
            <a:normAutofit/>
          </a:bodyPr>
          <a:lstStyle>
            <a:lvl1pPr>
              <a:defRPr sz="1788"/>
            </a:lvl1pPr>
          </a:lstStyle>
          <a:p>
            <a:r>
              <a:rPr lang="nb-NO"/>
              <a:t>Klikk for å redigere tittelstil</a:t>
            </a:r>
            <a:endParaRPr lang="en-US"/>
          </a:p>
        </p:txBody>
      </p:sp>
    </p:spTree>
    <p:extLst>
      <p:ext uri="{BB962C8B-B14F-4D97-AF65-F5344CB8AC3E}">
        <p14:creationId xmlns:p14="http://schemas.microsoft.com/office/powerpoint/2010/main" val="15923683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o innhold uten tittel">
    <p:spTree>
      <p:nvGrpSpPr>
        <p:cNvPr id="1" name=""/>
        <p:cNvGrpSpPr/>
        <p:nvPr/>
      </p:nvGrpSpPr>
      <p:grpSpPr>
        <a:xfrm>
          <a:off x="0" y="0"/>
          <a:ext cx="0" cy="0"/>
          <a:chOff x="0" y="0"/>
          <a:chExt cx="0" cy="0"/>
        </a:xfrm>
      </p:grpSpPr>
      <p:sp>
        <p:nvSpPr>
          <p:cNvPr id="4" name="Plassholder for innhold 3"/>
          <p:cNvSpPr>
            <a:spLocks noGrp="1"/>
          </p:cNvSpPr>
          <p:nvPr>
            <p:ph sz="quarter" idx="16"/>
          </p:nvPr>
        </p:nvSpPr>
        <p:spPr>
          <a:xfrm>
            <a:off x="321979" y="1362459"/>
            <a:ext cx="4118656" cy="3474533"/>
          </a:xfrm>
          <a:prstGeom prst="rect">
            <a:avLst/>
          </a:prstGeom>
        </p:spPr>
        <p:txBody>
          <a:bodyPr lIns="0" tIns="0" rIns="0" bIns="670365">
            <a:normAutofit/>
          </a:bodyPr>
          <a:lstStyle>
            <a:lvl1pPr>
              <a:defRPr sz="1564"/>
            </a:lvl1pPr>
            <a:lvl2pPr>
              <a:defRPr sz="1415"/>
            </a:lvl2pPr>
            <a:lvl3pPr>
              <a:defRPr sz="1415"/>
            </a:lvl3pPr>
            <a:lvl4pPr>
              <a:defRPr sz="1192"/>
            </a:lvl4pPr>
            <a:lvl5pPr>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innhold 7"/>
          <p:cNvSpPr>
            <a:spLocks noGrp="1"/>
          </p:cNvSpPr>
          <p:nvPr>
            <p:ph sz="quarter" idx="17"/>
          </p:nvPr>
        </p:nvSpPr>
        <p:spPr>
          <a:xfrm>
            <a:off x="4718342" y="1362459"/>
            <a:ext cx="4118656" cy="3474533"/>
          </a:xfrm>
          <a:prstGeom prst="rect">
            <a:avLst/>
          </a:prstGeom>
        </p:spPr>
        <p:txBody>
          <a:bodyPr lIns="0" tIns="0" rIns="0" bIns="0">
            <a:normAutofit/>
          </a:bodyPr>
          <a:lstStyle>
            <a:lvl1pPr>
              <a:defRPr sz="1564"/>
            </a:lvl1pPr>
            <a:lvl2pPr>
              <a:defRPr sz="1415"/>
            </a:lvl2pPr>
            <a:lvl3pPr>
              <a:defRPr sz="1415"/>
            </a:lvl3pPr>
            <a:lvl4pPr>
              <a:defRPr sz="1192"/>
            </a:lvl4pPr>
            <a:lvl5pPr>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75618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 innhold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tel 1"/>
          <p:cNvSpPr>
            <a:spLocks noGrp="1"/>
          </p:cNvSpPr>
          <p:nvPr>
            <p:ph type="title"/>
          </p:nvPr>
        </p:nvSpPr>
        <p:spPr>
          <a:xfrm>
            <a:off x="321980" y="1296192"/>
            <a:ext cx="3796676" cy="987421"/>
          </a:xfrm>
        </p:spPr>
        <p:txBody>
          <a:bodyPr/>
          <a:lstStyle/>
          <a:p>
            <a:r>
              <a:rPr lang="nb-NO"/>
              <a:t>Klikk for å redigere tittelstil</a:t>
            </a:r>
          </a:p>
        </p:txBody>
      </p:sp>
      <p:sp>
        <p:nvSpPr>
          <p:cNvPr id="3" name="Plassholder for innhold 2"/>
          <p:cNvSpPr>
            <a:spLocks noGrp="1"/>
          </p:cNvSpPr>
          <p:nvPr>
            <p:ph sz="quarter" idx="14"/>
          </p:nvPr>
        </p:nvSpPr>
        <p:spPr>
          <a:xfrm>
            <a:off x="4718342" y="1341002"/>
            <a:ext cx="4118656" cy="3495989"/>
          </a:xfrm>
          <a:prstGeom prst="rect">
            <a:avLst/>
          </a:prstGeom>
        </p:spPr>
        <p:txBody>
          <a:bodyPr lIns="0" tIns="0" rIns="0" bIns="670365"/>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548186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sz="half" idx="1"/>
          </p:nvPr>
        </p:nvSpPr>
        <p:spPr>
          <a:xfrm>
            <a:off x="321979"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Content Placeholder 3"/>
          <p:cNvSpPr>
            <a:spLocks noGrp="1"/>
          </p:cNvSpPr>
          <p:nvPr>
            <p:ph sz="half" idx="2"/>
          </p:nvPr>
        </p:nvSpPr>
        <p:spPr>
          <a:xfrm>
            <a:off x="4718342"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15382262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979" y="2283615"/>
            <a:ext cx="4118656" cy="613739"/>
          </a:xfrm>
        </p:spPr>
        <p:txBody>
          <a:bodyPr anchor="b"/>
          <a:lstStyle>
            <a:lvl1pPr marL="0" indent="0">
              <a:buNone/>
              <a:defRPr sz="1788" b="1"/>
            </a:lvl1pPr>
            <a:lvl2pPr marL="335811" indent="0">
              <a:buNone/>
              <a:defRPr sz="1490" b="1"/>
            </a:lvl2pPr>
            <a:lvl3pPr marL="671624" indent="0">
              <a:buNone/>
              <a:defRPr sz="1266" b="1"/>
            </a:lvl3pPr>
            <a:lvl4pPr marL="1007436" indent="0">
              <a:buNone/>
              <a:defRPr sz="1192" b="1"/>
            </a:lvl4pPr>
            <a:lvl5pPr marL="1343250" indent="0">
              <a:buNone/>
              <a:defRPr sz="1192" b="1"/>
            </a:lvl5pPr>
            <a:lvl6pPr marL="1679060" indent="0">
              <a:buNone/>
              <a:defRPr sz="1192" b="1"/>
            </a:lvl6pPr>
            <a:lvl7pPr marL="2014873" indent="0">
              <a:buNone/>
              <a:defRPr sz="1192" b="1"/>
            </a:lvl7pPr>
            <a:lvl8pPr marL="2350685" indent="0">
              <a:buNone/>
              <a:defRPr sz="1192" b="1"/>
            </a:lvl8pPr>
            <a:lvl9pPr marL="2686497" indent="0">
              <a:buNone/>
              <a:defRPr sz="1192" b="1"/>
            </a:lvl9pPr>
          </a:lstStyle>
          <a:p>
            <a:pPr lvl="0"/>
            <a:r>
              <a:rPr lang="nb-NO"/>
              <a:t>Klikk for å redigere tekststiler i malen</a:t>
            </a:r>
          </a:p>
        </p:txBody>
      </p:sp>
      <p:sp>
        <p:nvSpPr>
          <p:cNvPr id="5" name="Text Placeholder 4"/>
          <p:cNvSpPr>
            <a:spLocks noGrp="1"/>
          </p:cNvSpPr>
          <p:nvPr>
            <p:ph type="body" sz="quarter" idx="3"/>
          </p:nvPr>
        </p:nvSpPr>
        <p:spPr>
          <a:xfrm>
            <a:off x="4718342" y="2283615"/>
            <a:ext cx="4118656" cy="613739"/>
          </a:xfrm>
        </p:spPr>
        <p:txBody>
          <a:bodyPr anchor="b"/>
          <a:lstStyle>
            <a:lvl1pPr marL="0" indent="0">
              <a:buNone/>
              <a:defRPr sz="1788" b="1"/>
            </a:lvl1pPr>
            <a:lvl2pPr marL="335811" indent="0">
              <a:buNone/>
              <a:defRPr sz="1490" b="1"/>
            </a:lvl2pPr>
            <a:lvl3pPr marL="671624" indent="0">
              <a:buNone/>
              <a:defRPr sz="1266" b="1"/>
            </a:lvl3pPr>
            <a:lvl4pPr marL="1007436" indent="0">
              <a:buNone/>
              <a:defRPr sz="1192" b="1"/>
            </a:lvl4pPr>
            <a:lvl5pPr marL="1343250" indent="0">
              <a:buNone/>
              <a:defRPr sz="1192" b="1"/>
            </a:lvl5pPr>
            <a:lvl6pPr marL="1679060" indent="0">
              <a:buNone/>
              <a:defRPr sz="1192" b="1"/>
            </a:lvl6pPr>
            <a:lvl7pPr marL="2014873" indent="0">
              <a:buNone/>
              <a:defRPr sz="1192" b="1"/>
            </a:lvl7pPr>
            <a:lvl8pPr marL="2350685" indent="0">
              <a:buNone/>
              <a:defRPr sz="1192" b="1"/>
            </a:lvl8pPr>
            <a:lvl9pPr marL="2686497" indent="0">
              <a:buNone/>
              <a:defRPr sz="1192" b="1"/>
            </a:lvl9pPr>
          </a:lstStyle>
          <a:p>
            <a:pPr lvl="0"/>
            <a:r>
              <a:rPr lang="nb-NO"/>
              <a:t>Klikk for å redigere tekststiler i malen</a:t>
            </a:r>
          </a:p>
        </p:txBody>
      </p:sp>
      <p:sp>
        <p:nvSpPr>
          <p:cNvPr id="10" name="Tittel 9"/>
          <p:cNvSpPr>
            <a:spLocks noGrp="1"/>
          </p:cNvSpPr>
          <p:nvPr>
            <p:ph type="title"/>
          </p:nvPr>
        </p:nvSpPr>
        <p:spPr/>
        <p:txBody>
          <a:bodyPr/>
          <a:lstStyle/>
          <a:p>
            <a:r>
              <a:rPr lang="nb-NO"/>
              <a:t>Klikk for å redigere tittelstil</a:t>
            </a:r>
          </a:p>
        </p:txBody>
      </p:sp>
      <p:sp>
        <p:nvSpPr>
          <p:cNvPr id="11" name="Content Placeholder 2"/>
          <p:cNvSpPr>
            <a:spLocks noGrp="1"/>
          </p:cNvSpPr>
          <p:nvPr>
            <p:ph sz="half" idx="13"/>
          </p:nvPr>
        </p:nvSpPr>
        <p:spPr>
          <a:xfrm>
            <a:off x="321979" y="2897352"/>
            <a:ext cx="4118656" cy="19396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2" name="Content Placeholder 2"/>
          <p:cNvSpPr>
            <a:spLocks noGrp="1"/>
          </p:cNvSpPr>
          <p:nvPr>
            <p:ph sz="half" idx="14"/>
          </p:nvPr>
        </p:nvSpPr>
        <p:spPr>
          <a:xfrm>
            <a:off x="4718342" y="2897352"/>
            <a:ext cx="4118656" cy="19396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40865486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1_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Tree>
    <p:extLst>
      <p:ext uri="{BB962C8B-B14F-4D97-AF65-F5344CB8AC3E}">
        <p14:creationId xmlns:p14="http://schemas.microsoft.com/office/powerpoint/2010/main" val="30494021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4444110"/>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500"/>
            </a:lvl1pPr>
          </a:lstStyle>
          <a:p>
            <a:r>
              <a:rPr lang="nb-NO"/>
              <a:t>Klikk for å redigere tittelstil</a:t>
            </a:r>
            <a:endParaRPr lang="en-US"/>
          </a:p>
        </p:txBody>
      </p:sp>
      <p:sp>
        <p:nvSpPr>
          <p:cNvPr id="4" name="Date Placeholder 3"/>
          <p:cNvSpPr>
            <a:spLocks noGrp="1"/>
          </p:cNvSpPr>
          <p:nvPr>
            <p:ph type="dt" sz="half" idx="10"/>
          </p:nvPr>
        </p:nvSpPr>
        <p:spPr>
          <a:xfrm>
            <a:off x="7462838" y="268201"/>
            <a:ext cx="1340263" cy="153888"/>
          </a:xfrm>
        </p:spPr>
        <p:txBody>
          <a:bodyPr>
            <a:spAutoFit/>
          </a:bodyPr>
          <a:lstStyle>
            <a:lvl1pPr algn="r">
              <a:defRPr sz="1000"/>
            </a:lvl1pPr>
          </a:lstStyle>
          <a:p>
            <a:fld id="{E6DEC9C7-18CC-48A8-856E-8B8C0B6382E9}" type="datetime1">
              <a:rPr lang="nb-NO" smtClean="0"/>
              <a:t>13.10.2021</a:t>
            </a:fld>
            <a:endParaRPr lang="nb-NO"/>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3" name="Subtitle 2"/>
          <p:cNvSpPr>
            <a:spLocks noGrp="1"/>
          </p:cNvSpPr>
          <p:nvPr>
            <p:ph type="subTitle" idx="1"/>
          </p:nvPr>
        </p:nvSpPr>
        <p:spPr>
          <a:xfrm>
            <a:off x="324040" y="2391877"/>
            <a:ext cx="8331224" cy="346249"/>
          </a:xfrm>
        </p:spPr>
        <p:txBody>
          <a:bodyPr>
            <a:normAutofit/>
          </a:bodyPr>
          <a:lstStyle>
            <a:lvl1pPr marL="0" indent="0" algn="l">
              <a:buNone/>
              <a:defRPr sz="2500" b="1"/>
            </a:lvl1pPr>
            <a:lvl2pPr marL="340545" indent="0" algn="ctr">
              <a:buNone/>
              <a:defRPr sz="1500"/>
            </a:lvl2pPr>
            <a:lvl3pPr marL="681091" indent="0" algn="ctr">
              <a:buNone/>
              <a:defRPr sz="1300"/>
            </a:lvl3pPr>
            <a:lvl4pPr marL="1021636" indent="0" algn="ctr">
              <a:buNone/>
              <a:defRPr sz="1200"/>
            </a:lvl4pPr>
            <a:lvl5pPr marL="1362183" indent="0" algn="ctr">
              <a:buNone/>
              <a:defRPr sz="1200"/>
            </a:lvl5pPr>
            <a:lvl6pPr marL="1702727" indent="0" algn="ctr">
              <a:buNone/>
              <a:defRPr sz="1200"/>
            </a:lvl6pPr>
            <a:lvl7pPr marL="2043272" indent="0" algn="ctr">
              <a:buNone/>
              <a:defRPr sz="1200"/>
            </a:lvl7pPr>
            <a:lvl8pPr marL="2383818" indent="0" algn="ctr">
              <a:buNone/>
              <a:defRPr sz="1200"/>
            </a:lvl8pPr>
            <a:lvl9pPr marL="2724363" indent="0" algn="ctr">
              <a:buNone/>
              <a:defRPr sz="1200"/>
            </a:lvl9pPr>
          </a:lstStyle>
          <a:p>
            <a:r>
              <a:rPr lang="nb-NO"/>
              <a:t>Klikk for å redigere undertittelstil i malen</a:t>
            </a:r>
            <a:endParaRPr lang="en-US"/>
          </a:p>
        </p:txBody>
      </p:sp>
    </p:spTree>
    <p:extLst>
      <p:ext uri="{BB962C8B-B14F-4D97-AF65-F5344CB8AC3E}">
        <p14:creationId xmlns:p14="http://schemas.microsoft.com/office/powerpoint/2010/main" val="24227238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Åpen">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9674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a:t>Click to edit Master title style</a:t>
            </a:r>
          </a:p>
        </p:txBody>
      </p:sp>
      <p:sp>
        <p:nvSpPr>
          <p:cNvPr id="3" name="Text Placeholder 2"/>
          <p:cNvSpPr>
            <a:spLocks noGrp="1"/>
          </p:cNvSpPr>
          <p:nvPr>
            <p:ph type="body" sz="quarter" idx="10"/>
          </p:nvPr>
        </p:nvSpPr>
        <p:spPr bwMode="gray">
          <a:xfrm>
            <a:off x="345341" y="987422"/>
            <a:ext cx="8566844" cy="3392708"/>
          </a:xfrm>
        </p:spPr>
        <p:txBody>
          <a:bodyPr/>
          <a:lstStyle>
            <a:lvl1pPr marL="302251" indent="-302251">
              <a:buFont typeface="+mj-lt"/>
              <a:buAutoNum type="arabicPeriod"/>
              <a:defRPr/>
            </a:lvl1pPr>
            <a:lvl2pPr marL="570920">
              <a:defRPr/>
            </a:lvl2pPr>
            <a:lvl3pPr marL="772420">
              <a:defRPr/>
            </a:lvl3pPr>
            <a:lvl4pPr marL="1007505">
              <a:defRPr/>
            </a:lvl4pPr>
            <a:lvl5pPr marL="120900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1123178"/>
      </p:ext>
    </p:extLst>
  </p:cSld>
  <p:clrMapOvr>
    <a:masterClrMapping/>
  </p:clrMapOvr>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Kun oversktift">
    <p:spTree>
      <p:nvGrpSpPr>
        <p:cNvPr id="1" name=""/>
        <p:cNvGrpSpPr/>
        <p:nvPr/>
      </p:nvGrpSpPr>
      <p:grpSpPr>
        <a:xfrm>
          <a:off x="0" y="0"/>
          <a:ext cx="0" cy="0"/>
          <a:chOff x="0" y="0"/>
          <a:chExt cx="0" cy="0"/>
        </a:xfrm>
      </p:grpSpPr>
      <p:sp>
        <p:nvSpPr>
          <p:cNvPr id="2" name="Title 1"/>
          <p:cNvSpPr>
            <a:spLocks noGrp="1"/>
          </p:cNvSpPr>
          <p:nvPr>
            <p:ph type="title"/>
          </p:nvPr>
        </p:nvSpPr>
        <p:spPr>
          <a:xfrm>
            <a:off x="966021" y="278555"/>
            <a:ext cx="7870979" cy="569477"/>
          </a:xfrm>
        </p:spPr>
        <p:txBody>
          <a:bodyPr>
            <a:normAutofit/>
          </a:bodyPr>
          <a:lstStyle>
            <a:lvl1pPr>
              <a:defRPr lang="en-US" sz="2384" b="1" kern="1200" dirty="0">
                <a:solidFill>
                  <a:schemeClr val="tx1"/>
                </a:solidFill>
                <a:latin typeface="+mj-lt"/>
                <a:ea typeface="+mj-ea"/>
                <a:cs typeface="+mj-cs"/>
              </a:defRPr>
            </a:lvl1pPr>
          </a:lstStyle>
          <a:p>
            <a:r>
              <a:rPr lang="nb-NO"/>
              <a:t>Klikk for å redigere tittelstil</a:t>
            </a:r>
            <a:endParaRPr lang="en-US"/>
          </a:p>
        </p:txBody>
      </p:sp>
    </p:spTree>
    <p:extLst>
      <p:ext uri="{BB962C8B-B14F-4D97-AF65-F5344CB8AC3E}">
        <p14:creationId xmlns:p14="http://schemas.microsoft.com/office/powerpoint/2010/main" val="27939401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4444111"/>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469"/>
            </a:lvl1pPr>
          </a:lstStyle>
          <a:p>
            <a:r>
              <a:rPr lang="nb-NO"/>
              <a:t>Klikk for å redigere tittelstil</a:t>
            </a:r>
            <a:endParaRPr lang="en-US"/>
          </a:p>
        </p:txBody>
      </p:sp>
      <p:sp>
        <p:nvSpPr>
          <p:cNvPr id="4" name="Date Placeholder 3"/>
          <p:cNvSpPr>
            <a:spLocks noGrp="1"/>
          </p:cNvSpPr>
          <p:nvPr>
            <p:ph type="dt" sz="half" idx="10"/>
          </p:nvPr>
        </p:nvSpPr>
        <p:spPr>
          <a:xfrm>
            <a:off x="7462839" y="268201"/>
            <a:ext cx="1340263" cy="153888"/>
          </a:xfrm>
        </p:spPr>
        <p:txBody>
          <a:bodyPr>
            <a:spAutoFit/>
          </a:bodyPr>
          <a:lstStyle>
            <a:lvl1pPr algn="r">
              <a:defRPr sz="968"/>
            </a:lvl1pPr>
          </a:lstStyle>
          <a:p>
            <a:fld id="{E6DEC9C7-18CC-48A8-856E-8B8C0B6382E9}" type="datetime1">
              <a:rPr lang="nb-NO" smtClean="0"/>
              <a:t>13.10.2021</a:t>
            </a:fld>
            <a:endParaRPr lang="nb-NO"/>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968"/>
            </a:lvl1pPr>
          </a:lstStyle>
          <a:p>
            <a:endParaRPr lang="nb-NO"/>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968"/>
            </a:lvl1pPr>
          </a:lstStyle>
          <a:p>
            <a:fld id="{D8865200-363A-4A27-BFE2-9D2920C8E885}" type="slidenum">
              <a:rPr lang="nb-NO" smtClean="0"/>
              <a:pPr/>
              <a:t>‹#›</a:t>
            </a:fld>
            <a:endParaRPr lang="nb-NO"/>
          </a:p>
        </p:txBody>
      </p:sp>
      <p:sp>
        <p:nvSpPr>
          <p:cNvPr id="3" name="Subtitle 2"/>
          <p:cNvSpPr>
            <a:spLocks noGrp="1"/>
          </p:cNvSpPr>
          <p:nvPr>
            <p:ph type="subTitle" idx="1"/>
          </p:nvPr>
        </p:nvSpPr>
        <p:spPr>
          <a:xfrm>
            <a:off x="324040" y="2391878"/>
            <a:ext cx="8331224" cy="346249"/>
          </a:xfrm>
        </p:spPr>
        <p:txBody>
          <a:bodyPr>
            <a:normAutofit/>
          </a:bodyPr>
          <a:lstStyle>
            <a:lvl1pPr marL="0" indent="0" algn="l">
              <a:buNone/>
              <a:defRPr sz="2458" b="1"/>
            </a:lvl1pPr>
            <a:lvl2pPr marL="338170" indent="0" algn="ctr">
              <a:buNone/>
              <a:defRPr sz="1490"/>
            </a:lvl2pPr>
            <a:lvl3pPr marL="676341" indent="0" algn="ctr">
              <a:buNone/>
              <a:defRPr sz="1266"/>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a:p>
        </p:txBody>
      </p:sp>
    </p:spTree>
    <p:extLst>
      <p:ext uri="{BB962C8B-B14F-4D97-AF65-F5344CB8AC3E}">
        <p14:creationId xmlns:p14="http://schemas.microsoft.com/office/powerpoint/2010/main" val="40092040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Forsi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24041" y="2138898"/>
            <a:ext cx="7658373" cy="623248"/>
          </a:xfrm>
        </p:spPr>
        <p:txBody>
          <a:bodyPr wrap="square" anchor="b" anchorCtr="0">
            <a:normAutofit/>
          </a:bodyPr>
          <a:lstStyle>
            <a:lvl1pPr algn="l">
              <a:defRPr sz="4469"/>
            </a:lvl1pPr>
          </a:lstStyle>
          <a:p>
            <a:r>
              <a:rPr lang="nb-NO"/>
              <a:t>Klikk for å redigere tittelstil</a:t>
            </a:r>
            <a:endParaRPr lang="en-US"/>
          </a:p>
        </p:txBody>
      </p:sp>
      <p:sp>
        <p:nvSpPr>
          <p:cNvPr id="3" name="Subtitle 2"/>
          <p:cNvSpPr>
            <a:spLocks noGrp="1"/>
          </p:cNvSpPr>
          <p:nvPr>
            <p:ph type="subTitle" idx="1"/>
          </p:nvPr>
        </p:nvSpPr>
        <p:spPr>
          <a:xfrm>
            <a:off x="324041" y="2888750"/>
            <a:ext cx="6584760" cy="346249"/>
          </a:xfrm>
        </p:spPr>
        <p:txBody>
          <a:bodyPr wrap="square">
            <a:normAutofit/>
          </a:bodyPr>
          <a:lstStyle>
            <a:lvl1pPr marL="0" indent="0" algn="l">
              <a:buNone/>
              <a:defRPr sz="2483" b="1"/>
            </a:lvl1pPr>
            <a:lvl2pPr marL="338170" indent="0" algn="ctr">
              <a:buNone/>
              <a:defRPr sz="1490"/>
            </a:lvl2pPr>
            <a:lvl3pPr marL="676341" indent="0" algn="ctr">
              <a:buNone/>
              <a:defRPr sz="1291"/>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a:p>
        </p:txBody>
      </p:sp>
      <p:sp>
        <p:nvSpPr>
          <p:cNvPr id="9" name="Date Placeholder 3"/>
          <p:cNvSpPr>
            <a:spLocks noGrp="1"/>
          </p:cNvSpPr>
          <p:nvPr>
            <p:ph type="dt" sz="half" idx="10"/>
          </p:nvPr>
        </p:nvSpPr>
        <p:spPr>
          <a:xfrm>
            <a:off x="7462839" y="268201"/>
            <a:ext cx="1340263" cy="153888"/>
          </a:xfrm>
        </p:spPr>
        <p:txBody>
          <a:bodyPr>
            <a:spAutoFit/>
          </a:bodyPr>
          <a:lstStyle>
            <a:lvl1pPr algn="r">
              <a:defRPr sz="993"/>
            </a:lvl1pPr>
          </a:lstStyle>
          <a:p>
            <a:fld id="{4ECF339B-DE26-4CB1-847D-D0F793D508DD}" type="datetime1">
              <a:rPr lang="nb-NO" smtClean="0"/>
              <a:t>13.10.2021</a:t>
            </a:fld>
            <a:endParaRPr lang="nb-NO"/>
          </a:p>
        </p:txBody>
      </p:sp>
      <p:sp>
        <p:nvSpPr>
          <p:cNvPr id="10"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11"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641244019"/>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6"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0C27853C-4794-44B2-A8FB-82E8C67B7A42}" type="datetime1">
              <a:rPr lang="nb-NO" smtClean="0"/>
              <a:t>13.10.2021</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2089785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4444111"/>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469"/>
            </a:lvl1pPr>
          </a:lstStyle>
          <a:p>
            <a:r>
              <a:rPr lang="nb-NO"/>
              <a:t>Klikk for å redigere tittelstil</a:t>
            </a:r>
            <a:endParaRPr lang="en-US"/>
          </a:p>
        </p:txBody>
      </p:sp>
      <p:sp>
        <p:nvSpPr>
          <p:cNvPr id="4" name="Date Placeholder 3"/>
          <p:cNvSpPr>
            <a:spLocks noGrp="1"/>
          </p:cNvSpPr>
          <p:nvPr>
            <p:ph type="dt" sz="half" idx="10"/>
          </p:nvPr>
        </p:nvSpPr>
        <p:spPr>
          <a:xfrm>
            <a:off x="7462839" y="268201"/>
            <a:ext cx="1340263" cy="153888"/>
          </a:xfrm>
        </p:spPr>
        <p:txBody>
          <a:bodyPr>
            <a:spAutoFit/>
          </a:bodyPr>
          <a:lstStyle>
            <a:lvl1pPr algn="r">
              <a:defRPr sz="993"/>
            </a:lvl1pPr>
          </a:lstStyle>
          <a:p>
            <a:fld id="{E6DEC9C7-18CC-48A8-856E-8B8C0B6382E9}" type="datetime1">
              <a:rPr lang="nb-NO" smtClean="0"/>
              <a:t>13.10.2021</a:t>
            </a:fld>
            <a:endParaRPr lang="nb-NO"/>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
        <p:nvSpPr>
          <p:cNvPr id="3" name="Subtitle 2"/>
          <p:cNvSpPr>
            <a:spLocks noGrp="1"/>
          </p:cNvSpPr>
          <p:nvPr>
            <p:ph type="subTitle" idx="1"/>
          </p:nvPr>
        </p:nvSpPr>
        <p:spPr>
          <a:xfrm>
            <a:off x="324040" y="2391878"/>
            <a:ext cx="8331224" cy="346249"/>
          </a:xfrm>
        </p:spPr>
        <p:txBody>
          <a:bodyPr>
            <a:normAutofit/>
          </a:bodyPr>
          <a:lstStyle>
            <a:lvl1pPr marL="0" indent="0" algn="l">
              <a:buNone/>
              <a:defRPr sz="2483" b="1"/>
            </a:lvl1pPr>
            <a:lvl2pPr marL="338170" indent="0" algn="ctr">
              <a:buNone/>
              <a:defRPr sz="1490"/>
            </a:lvl2pPr>
            <a:lvl3pPr marL="676341" indent="0" algn="ctr">
              <a:buNone/>
              <a:defRPr sz="1291"/>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a:p>
        </p:txBody>
      </p:sp>
    </p:spTree>
    <p:extLst>
      <p:ext uri="{BB962C8B-B14F-4D97-AF65-F5344CB8AC3E}">
        <p14:creationId xmlns:p14="http://schemas.microsoft.com/office/powerpoint/2010/main" val="37786664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80" y="1473433"/>
            <a:ext cx="4024733" cy="1869743"/>
          </a:xfrm>
        </p:spPr>
        <p:txBody>
          <a:bodyPr wrap="square">
            <a:normAutofit/>
          </a:bodyPr>
          <a:lstStyle>
            <a:lvl1pPr>
              <a:defRPr sz="4469"/>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5" y="4456303"/>
            <a:ext cx="9144019" cy="652273"/>
          </a:xfrm>
          <a:prstGeom prst="rect">
            <a:avLst/>
          </a:prstGeom>
        </p:spPr>
      </p:pic>
      <p:sp>
        <p:nvSpPr>
          <p:cNvPr id="12" name="Date Placeholder 3"/>
          <p:cNvSpPr>
            <a:spLocks noGrp="1"/>
          </p:cNvSpPr>
          <p:nvPr>
            <p:ph type="dt" sz="half" idx="10"/>
          </p:nvPr>
        </p:nvSpPr>
        <p:spPr>
          <a:xfrm>
            <a:off x="7462839" y="268201"/>
            <a:ext cx="1340263" cy="153888"/>
          </a:xfrm>
        </p:spPr>
        <p:txBody>
          <a:bodyPr>
            <a:spAutoFit/>
          </a:bodyPr>
          <a:lstStyle>
            <a:lvl1pPr algn="r">
              <a:defRPr sz="993"/>
            </a:lvl1pPr>
          </a:lstStyle>
          <a:p>
            <a:fld id="{B89DD950-73F7-4004-B10D-E4A2EA37D48F}" type="datetime1">
              <a:rPr lang="nb-NO" smtClean="0"/>
              <a:t>13.10.2021</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1"/>
            <a:ext cx="3952800" cy="2970371"/>
          </a:xfrm>
          <a:prstGeom prst="rect">
            <a:avLst/>
          </a:prstGeom>
          <a:solidFill>
            <a:schemeClr val="bg2"/>
          </a:solidFill>
        </p:spPr>
        <p:txBody>
          <a:bodyPr lIns="0" tIns="0" rIns="0" bIns="670365"/>
          <a:lstStyle/>
          <a:p>
            <a:r>
              <a:rPr lang="nb-NO"/>
              <a:t>Klikk på ikonet for å legge til et bilde</a:t>
            </a:r>
          </a:p>
        </p:txBody>
      </p:sp>
    </p:spTree>
    <p:extLst>
      <p:ext uri="{BB962C8B-B14F-4D97-AF65-F5344CB8AC3E}">
        <p14:creationId xmlns:p14="http://schemas.microsoft.com/office/powerpoint/2010/main" val="17828467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1" y="2655184"/>
            <a:ext cx="3730785" cy="987421"/>
          </a:xfrm>
        </p:spPr>
        <p:txBody>
          <a:bodyPr>
            <a:normAutofit/>
          </a:bodyPr>
          <a:lstStyle>
            <a:lvl1pPr>
              <a:defRPr sz="3377"/>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7"/>
            <a:ext cx="3488884" cy="661455"/>
          </a:xfrm>
        </p:spPr>
        <p:txBody>
          <a:bodyPr>
            <a:normAutofit/>
          </a:bodyPr>
          <a:lstStyle>
            <a:lvl1pPr marL="0" indent="0">
              <a:buNone/>
              <a:defRPr sz="1092"/>
            </a:lvl1pPr>
          </a:lstStyle>
          <a:p>
            <a:pPr lvl="0"/>
            <a:r>
              <a:rPr lang="nb-NO"/>
              <a:t>Klikk for å redigere tekststiler i malen</a:t>
            </a:r>
          </a:p>
        </p:txBody>
      </p:sp>
      <p:sp>
        <p:nvSpPr>
          <p:cNvPr id="10" name="TekstSylinder 9"/>
          <p:cNvSpPr txBox="1"/>
          <p:nvPr userDrawn="1"/>
        </p:nvSpPr>
        <p:spPr>
          <a:xfrm>
            <a:off x="321793" y="4688141"/>
            <a:ext cx="2045311" cy="202208"/>
          </a:xfrm>
          <a:prstGeom prst="rect">
            <a:avLst/>
          </a:prstGeom>
          <a:noFill/>
        </p:spPr>
        <p:txBody>
          <a:bodyPr wrap="square" lIns="33817" tIns="16909" rIns="33817" bIns="16909" rtlCol="0">
            <a:spAutoFit/>
          </a:bodyPr>
          <a:lstStyle/>
          <a:p>
            <a:r>
              <a:rPr lang="nb-NO" sz="1092" b="1"/>
              <a:t>Skatteetaten.no</a:t>
            </a:r>
          </a:p>
        </p:txBody>
      </p:sp>
      <p:sp>
        <p:nvSpPr>
          <p:cNvPr id="8" name="Rektangel 7"/>
          <p:cNvSpPr/>
          <p:nvPr userDrawn="1"/>
        </p:nvSpPr>
        <p:spPr>
          <a:xfrm>
            <a:off x="4305137" y="321842"/>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
            <a:ext cx="1755652" cy="621793"/>
          </a:xfrm>
          <a:prstGeom prst="rect">
            <a:avLst/>
          </a:prstGeom>
        </p:spPr>
      </p:pic>
    </p:spTree>
    <p:extLst>
      <p:ext uri="{BB962C8B-B14F-4D97-AF65-F5344CB8AC3E}">
        <p14:creationId xmlns:p14="http://schemas.microsoft.com/office/powerpoint/2010/main" val="21011291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Avslutning">
    <p:spTree>
      <p:nvGrpSpPr>
        <p:cNvPr id="1" name=""/>
        <p:cNvGrpSpPr/>
        <p:nvPr/>
      </p:nvGrpSpPr>
      <p:grpSpPr>
        <a:xfrm>
          <a:off x="0" y="0"/>
          <a:ext cx="0" cy="0"/>
          <a:chOff x="0" y="0"/>
          <a:chExt cx="0" cy="0"/>
        </a:xfrm>
      </p:grpSpPr>
      <p:sp>
        <p:nvSpPr>
          <p:cNvPr id="2" name="Rektangel 1"/>
          <p:cNvSpPr/>
          <p:nvPr userDrawn="1"/>
        </p:nvSpPr>
        <p:spPr>
          <a:xfrm>
            <a:off x="0" y="1"/>
            <a:ext cx="9145588" cy="5108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a:p>
        </p:txBody>
      </p:sp>
      <p:pic>
        <p:nvPicPr>
          <p:cNvPr id="3" name="Bil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4356" y="1621677"/>
            <a:ext cx="2736878" cy="1865222"/>
          </a:xfrm>
          <a:prstGeom prst="rect">
            <a:avLst/>
          </a:prstGeom>
        </p:spPr>
      </p:pic>
    </p:spTree>
    <p:extLst>
      <p:ext uri="{BB962C8B-B14F-4D97-AF65-F5344CB8AC3E}">
        <p14:creationId xmlns:p14="http://schemas.microsoft.com/office/powerpoint/2010/main" val="1626116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79" y="1473432"/>
            <a:ext cx="4024733" cy="1869743"/>
          </a:xfrm>
        </p:spPr>
        <p:txBody>
          <a:bodyPr wrap="square">
            <a:normAutofit/>
          </a:bodyPr>
          <a:lstStyle>
            <a:lvl1pPr>
              <a:defRPr sz="4500"/>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4" y="4456302"/>
            <a:ext cx="9144019" cy="652273"/>
          </a:xfrm>
          <a:prstGeom prst="rect">
            <a:avLst/>
          </a:prstGeom>
        </p:spPr>
      </p:pic>
      <p:sp>
        <p:nvSpPr>
          <p:cNvPr id="12" name="Date Placeholder 3"/>
          <p:cNvSpPr>
            <a:spLocks noGrp="1"/>
          </p:cNvSpPr>
          <p:nvPr>
            <p:ph type="dt" sz="half" idx="10"/>
          </p:nvPr>
        </p:nvSpPr>
        <p:spPr>
          <a:xfrm>
            <a:off x="7462838" y="268201"/>
            <a:ext cx="1340263" cy="153888"/>
          </a:xfrm>
        </p:spPr>
        <p:txBody>
          <a:bodyPr>
            <a:spAutoFit/>
          </a:bodyPr>
          <a:lstStyle>
            <a:lvl1pPr algn="r">
              <a:defRPr sz="1000"/>
            </a:lvl1pPr>
          </a:lstStyle>
          <a:p>
            <a:fld id="{B89DD950-73F7-4004-B10D-E4A2EA37D48F}" type="datetime1">
              <a:rPr lang="nb-NO" smtClean="0"/>
              <a:t>13.10.2021</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0"/>
            <a:ext cx="3952800" cy="2970371"/>
          </a:xfrm>
          <a:prstGeom prst="rect">
            <a:avLst/>
          </a:prstGeom>
          <a:solidFill>
            <a:schemeClr val="bg2"/>
          </a:solidFill>
        </p:spPr>
        <p:txBody>
          <a:bodyPr lIns="0" tIns="0" rIns="0" bIns="670365"/>
          <a:lstStyle/>
          <a:p>
            <a:r>
              <a:rPr lang="nb-NO"/>
              <a:t>Klikk ikonet for å legge til et bilde</a:t>
            </a:r>
          </a:p>
        </p:txBody>
      </p:sp>
    </p:spTree>
    <p:extLst>
      <p:ext uri="{BB962C8B-B14F-4D97-AF65-F5344CB8AC3E}">
        <p14:creationId xmlns:p14="http://schemas.microsoft.com/office/powerpoint/2010/main" val="36845494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3688205"/>
            <a:ext cx="6364237" cy="1420371"/>
          </a:xfrm>
          <a:prstGeom prst="rect">
            <a:avLst/>
          </a:prstGeom>
        </p:spPr>
      </p:pic>
      <p:sp>
        <p:nvSpPr>
          <p:cNvPr id="2" name="Title 1"/>
          <p:cNvSpPr>
            <a:spLocks noGrp="1"/>
          </p:cNvSpPr>
          <p:nvPr>
            <p:ph type="title"/>
          </p:nvPr>
        </p:nvSpPr>
        <p:spPr>
          <a:xfrm>
            <a:off x="288036" y="268202"/>
            <a:ext cx="4789290" cy="346249"/>
          </a:xfrm>
        </p:spPr>
        <p:txBody>
          <a:bodyPr wrap="square">
            <a:normAutofit/>
          </a:bodyPr>
          <a:lstStyle>
            <a:lvl1pPr>
              <a:defRPr sz="2483"/>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1B64C1CA-9320-4112-886C-AAF9BAD3F488}" type="datetime1">
              <a:rPr lang="nb-NO" smtClean="0"/>
              <a:t>13.10.2021</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pic>
        <p:nvPicPr>
          <p:cNvPr id="14" name="Bild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33781701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ekst og bild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1341002"/>
            <a:ext cx="3796676" cy="3495989"/>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5" name="Date Placeholder 4"/>
          <p:cNvSpPr>
            <a:spLocks noGrp="1"/>
          </p:cNvSpPr>
          <p:nvPr>
            <p:ph type="dt" sz="half" idx="10"/>
          </p:nvPr>
        </p:nvSpPr>
        <p:spPr/>
        <p:txBody>
          <a:bodyPr/>
          <a:lstStyle/>
          <a:p>
            <a:fld id="{DDAC5CCC-DC88-4883-904A-262AEBD18467}" type="datetime1">
              <a:rPr lang="nb-NO" smtClean="0"/>
              <a:t>13.10.2021</a:t>
            </a:fld>
            <a:endParaRPr lang="nb-NO" dirty="0"/>
          </a:p>
        </p:txBody>
      </p:sp>
      <p:sp>
        <p:nvSpPr>
          <p:cNvPr id="6" name="Footer Placeholder 5"/>
          <p:cNvSpPr>
            <a:spLocks noGrp="1"/>
          </p:cNvSpPr>
          <p:nvPr>
            <p:ph type="ftr" sz="quarter" idx="11"/>
          </p:nvPr>
        </p:nvSpPr>
        <p:spPr/>
        <p:txBody>
          <a:bodyPr/>
          <a:lstStyle/>
          <a:p>
            <a:endParaRPr lang="nb-NO" dirty="0"/>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dirty="0"/>
          </a:p>
        </p:txBody>
      </p:sp>
      <p:sp>
        <p:nvSpPr>
          <p:cNvPr id="8" name="Plassholder for bilde 7"/>
          <p:cNvSpPr>
            <a:spLocks noGrp="1"/>
          </p:cNvSpPr>
          <p:nvPr>
            <p:ph type="pic" sz="quarter" idx="13" hasCustomPrompt="1"/>
          </p:nvPr>
        </p:nvSpPr>
        <p:spPr>
          <a:xfrm>
            <a:off x="4718342" y="1341002"/>
            <a:ext cx="4118656" cy="3495989"/>
          </a:xfrm>
          <a:prstGeom prst="rect">
            <a:avLst/>
          </a:prstGeom>
          <a:solidFill>
            <a:schemeClr val="bg2"/>
          </a:solidFill>
        </p:spPr>
        <p:txBody>
          <a:bodyPr lIns="0" tIns="0" rIns="0" bIns="670365" anchor="ctr" anchorCtr="1"/>
          <a:lstStyle>
            <a:lvl1pPr marL="0" indent="0">
              <a:buNone/>
              <a:defRPr/>
            </a:lvl1pPr>
          </a:lstStyle>
          <a:p>
            <a:r>
              <a:rPr lang="nb-NO" dirty="0"/>
              <a:t>Trykk for å endre bilde</a:t>
            </a:r>
          </a:p>
        </p:txBody>
      </p:sp>
    </p:spTree>
    <p:extLst>
      <p:ext uri="{BB962C8B-B14F-4D97-AF65-F5344CB8AC3E}">
        <p14:creationId xmlns:p14="http://schemas.microsoft.com/office/powerpoint/2010/main" val="7436200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Forsi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24040" y="2138898"/>
            <a:ext cx="7658373" cy="623248"/>
          </a:xfrm>
        </p:spPr>
        <p:txBody>
          <a:bodyPr wrap="square" anchor="b" anchorCtr="0">
            <a:normAutofit/>
          </a:bodyPr>
          <a:lstStyle>
            <a:lvl1pPr algn="l">
              <a:defRPr sz="4500"/>
            </a:lvl1pPr>
          </a:lstStyle>
          <a:p>
            <a:r>
              <a:rPr lang="nb-NO"/>
              <a:t>Klikk for å redigere tittelstil</a:t>
            </a:r>
            <a:endParaRPr lang="en-US"/>
          </a:p>
        </p:txBody>
      </p:sp>
      <p:sp>
        <p:nvSpPr>
          <p:cNvPr id="3" name="Subtitle 2"/>
          <p:cNvSpPr>
            <a:spLocks noGrp="1"/>
          </p:cNvSpPr>
          <p:nvPr>
            <p:ph type="subTitle" idx="1"/>
          </p:nvPr>
        </p:nvSpPr>
        <p:spPr>
          <a:xfrm>
            <a:off x="324041" y="2888749"/>
            <a:ext cx="6584760" cy="346249"/>
          </a:xfrm>
        </p:spPr>
        <p:txBody>
          <a:bodyPr wrap="square">
            <a:normAutofit/>
          </a:bodyPr>
          <a:lstStyle>
            <a:lvl1pPr marL="0" indent="0" algn="l">
              <a:buNone/>
              <a:defRPr sz="2500" b="1"/>
            </a:lvl1pPr>
            <a:lvl2pPr marL="340545" indent="0" algn="ctr">
              <a:buNone/>
              <a:defRPr sz="1500"/>
            </a:lvl2pPr>
            <a:lvl3pPr marL="681091" indent="0" algn="ctr">
              <a:buNone/>
              <a:defRPr sz="1300"/>
            </a:lvl3pPr>
            <a:lvl4pPr marL="1021636" indent="0" algn="ctr">
              <a:buNone/>
              <a:defRPr sz="1200"/>
            </a:lvl4pPr>
            <a:lvl5pPr marL="1362183" indent="0" algn="ctr">
              <a:buNone/>
              <a:defRPr sz="1200"/>
            </a:lvl5pPr>
            <a:lvl6pPr marL="1702727" indent="0" algn="ctr">
              <a:buNone/>
              <a:defRPr sz="1200"/>
            </a:lvl6pPr>
            <a:lvl7pPr marL="2043272" indent="0" algn="ctr">
              <a:buNone/>
              <a:defRPr sz="1200"/>
            </a:lvl7pPr>
            <a:lvl8pPr marL="2383818" indent="0" algn="ctr">
              <a:buNone/>
              <a:defRPr sz="1200"/>
            </a:lvl8pPr>
            <a:lvl9pPr marL="2724363" indent="0" algn="ctr">
              <a:buNone/>
              <a:defRPr sz="1200"/>
            </a:lvl9pPr>
          </a:lstStyle>
          <a:p>
            <a:r>
              <a:rPr lang="nb-NO"/>
              <a:t>Klikk for å redigere undertittelstil i malen</a:t>
            </a:r>
            <a:endParaRPr lang="en-US"/>
          </a:p>
        </p:txBody>
      </p:sp>
      <p:sp>
        <p:nvSpPr>
          <p:cNvPr id="9" name="Date Placeholder 3"/>
          <p:cNvSpPr>
            <a:spLocks noGrp="1"/>
          </p:cNvSpPr>
          <p:nvPr>
            <p:ph type="dt" sz="half" idx="10"/>
          </p:nvPr>
        </p:nvSpPr>
        <p:spPr>
          <a:xfrm>
            <a:off x="7462838" y="268201"/>
            <a:ext cx="1340263" cy="153888"/>
          </a:xfrm>
        </p:spPr>
        <p:txBody>
          <a:bodyPr>
            <a:spAutoFit/>
          </a:bodyPr>
          <a:lstStyle>
            <a:lvl1pPr algn="r">
              <a:defRPr sz="1000"/>
            </a:lvl1pPr>
          </a:lstStyle>
          <a:p>
            <a:fld id="{4ECF339B-DE26-4CB1-847D-D0F793D508DD}" type="datetime1">
              <a:rPr lang="nb-NO" smtClean="0"/>
              <a:t>13.10.2021</a:t>
            </a:fld>
            <a:endParaRPr lang="nb-NO"/>
          </a:p>
        </p:txBody>
      </p:sp>
      <p:sp>
        <p:nvSpPr>
          <p:cNvPr id="10"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1"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1426831569"/>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914955"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0C27853C-4794-44B2-A8FB-82E8C67B7A42}" type="datetime1">
              <a:rPr lang="nb-NO" smtClean="0"/>
              <a:t>13.10.2021</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5418437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0" y="4444110"/>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500"/>
            </a:lvl1pPr>
          </a:lstStyle>
          <a:p>
            <a:r>
              <a:rPr lang="nb-NO"/>
              <a:t>Klikk for å redigere tittelstil</a:t>
            </a:r>
            <a:endParaRPr lang="en-US"/>
          </a:p>
        </p:txBody>
      </p:sp>
      <p:sp>
        <p:nvSpPr>
          <p:cNvPr id="4" name="Date Placeholder 3"/>
          <p:cNvSpPr>
            <a:spLocks noGrp="1"/>
          </p:cNvSpPr>
          <p:nvPr>
            <p:ph type="dt" sz="half" idx="10"/>
          </p:nvPr>
        </p:nvSpPr>
        <p:spPr>
          <a:xfrm>
            <a:off x="7462838" y="268201"/>
            <a:ext cx="1340263" cy="153888"/>
          </a:xfrm>
        </p:spPr>
        <p:txBody>
          <a:bodyPr>
            <a:spAutoFit/>
          </a:bodyPr>
          <a:lstStyle>
            <a:lvl1pPr algn="r">
              <a:defRPr sz="1000"/>
            </a:lvl1pPr>
          </a:lstStyle>
          <a:p>
            <a:fld id="{E6DEC9C7-18CC-48A8-856E-8B8C0B6382E9}" type="datetime1">
              <a:rPr lang="nb-NO" smtClean="0"/>
              <a:t>13.10.2021</a:t>
            </a:fld>
            <a:endParaRPr lang="nb-NO"/>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3" name="Subtitle 2"/>
          <p:cNvSpPr>
            <a:spLocks noGrp="1"/>
          </p:cNvSpPr>
          <p:nvPr>
            <p:ph type="subTitle" idx="1"/>
          </p:nvPr>
        </p:nvSpPr>
        <p:spPr>
          <a:xfrm>
            <a:off x="324040" y="2391877"/>
            <a:ext cx="8331224" cy="346249"/>
          </a:xfrm>
        </p:spPr>
        <p:txBody>
          <a:bodyPr>
            <a:normAutofit/>
          </a:bodyPr>
          <a:lstStyle>
            <a:lvl1pPr marL="0" indent="0" algn="l">
              <a:buNone/>
              <a:defRPr sz="2500" b="1"/>
            </a:lvl1pPr>
            <a:lvl2pPr marL="340545" indent="0" algn="ctr">
              <a:buNone/>
              <a:defRPr sz="1500"/>
            </a:lvl2pPr>
            <a:lvl3pPr marL="681091" indent="0" algn="ctr">
              <a:buNone/>
              <a:defRPr sz="1300"/>
            </a:lvl3pPr>
            <a:lvl4pPr marL="1021636" indent="0" algn="ctr">
              <a:buNone/>
              <a:defRPr sz="1200"/>
            </a:lvl4pPr>
            <a:lvl5pPr marL="1362183" indent="0" algn="ctr">
              <a:buNone/>
              <a:defRPr sz="1200"/>
            </a:lvl5pPr>
            <a:lvl6pPr marL="1702727" indent="0" algn="ctr">
              <a:buNone/>
              <a:defRPr sz="1200"/>
            </a:lvl6pPr>
            <a:lvl7pPr marL="2043272" indent="0" algn="ctr">
              <a:buNone/>
              <a:defRPr sz="1200"/>
            </a:lvl7pPr>
            <a:lvl8pPr marL="2383818" indent="0" algn="ctr">
              <a:buNone/>
              <a:defRPr sz="1200"/>
            </a:lvl8pPr>
            <a:lvl9pPr marL="2724363" indent="0" algn="ctr">
              <a:buNone/>
              <a:defRPr sz="1200"/>
            </a:lvl9pPr>
          </a:lstStyle>
          <a:p>
            <a:r>
              <a:rPr lang="nb-NO"/>
              <a:t>Klikk for å redigere undertittelstil i malen</a:t>
            </a:r>
            <a:endParaRPr lang="en-US"/>
          </a:p>
        </p:txBody>
      </p:sp>
    </p:spTree>
    <p:extLst>
      <p:ext uri="{BB962C8B-B14F-4D97-AF65-F5344CB8AC3E}">
        <p14:creationId xmlns:p14="http://schemas.microsoft.com/office/powerpoint/2010/main" val="1629642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79" y="1473432"/>
            <a:ext cx="4024733" cy="1869743"/>
          </a:xfrm>
        </p:spPr>
        <p:txBody>
          <a:bodyPr wrap="square">
            <a:normAutofit/>
          </a:bodyPr>
          <a:lstStyle>
            <a:lvl1pPr>
              <a:defRPr sz="4500"/>
            </a:lvl1pPr>
          </a:lstStyle>
          <a:p>
            <a:r>
              <a:rPr lang="nb-NO"/>
              <a:t>Klikk for å redigere tittelstil</a:t>
            </a:r>
          </a:p>
        </p:txBody>
      </p:sp>
      <p:pic>
        <p:nvPicPr>
          <p:cNvPr id="4" name="Bild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4" y="4456302"/>
            <a:ext cx="9144019" cy="652273"/>
          </a:xfrm>
          <a:prstGeom prst="rect">
            <a:avLst/>
          </a:prstGeom>
        </p:spPr>
      </p:pic>
      <p:sp>
        <p:nvSpPr>
          <p:cNvPr id="12" name="Date Placeholder 3"/>
          <p:cNvSpPr>
            <a:spLocks noGrp="1"/>
          </p:cNvSpPr>
          <p:nvPr>
            <p:ph type="dt" sz="half" idx="10"/>
          </p:nvPr>
        </p:nvSpPr>
        <p:spPr>
          <a:xfrm>
            <a:off x="7462838" y="268201"/>
            <a:ext cx="1340263" cy="153888"/>
          </a:xfrm>
        </p:spPr>
        <p:txBody>
          <a:bodyPr>
            <a:spAutoFit/>
          </a:bodyPr>
          <a:lstStyle>
            <a:lvl1pPr algn="r">
              <a:defRPr sz="1000"/>
            </a:lvl1pPr>
          </a:lstStyle>
          <a:p>
            <a:fld id="{B89DD950-73F7-4004-B10D-E4A2EA37D48F}" type="datetime1">
              <a:rPr lang="nb-NO" smtClean="0"/>
              <a:t>13.10.2021</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0"/>
            <a:ext cx="3952800" cy="2970371"/>
          </a:xfrm>
          <a:prstGeom prst="rect">
            <a:avLst/>
          </a:prstGeom>
          <a:solidFill>
            <a:schemeClr val="bg2"/>
          </a:solidFill>
        </p:spPr>
        <p:txBody>
          <a:bodyPr lIns="0" tIns="0" rIns="0" bIns="670365"/>
          <a:lstStyle/>
          <a:p>
            <a:r>
              <a:rPr lang="nb-NO"/>
              <a:t>Klikk ikonet for å legge til et bilde</a:t>
            </a:r>
          </a:p>
        </p:txBody>
      </p:sp>
    </p:spTree>
    <p:extLst>
      <p:ext uri="{BB962C8B-B14F-4D97-AF65-F5344CB8AC3E}">
        <p14:creationId xmlns:p14="http://schemas.microsoft.com/office/powerpoint/2010/main" val="28155084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0" y="2655183"/>
            <a:ext cx="3730785" cy="987421"/>
          </a:xfrm>
        </p:spPr>
        <p:txBody>
          <a:bodyPr>
            <a:normAutofit/>
          </a:bodyPr>
          <a:lstStyle>
            <a:lvl1pPr>
              <a:defRPr sz="3400"/>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6"/>
            <a:ext cx="3488884" cy="661455"/>
          </a:xfrm>
        </p:spPr>
        <p:txBody>
          <a:bodyPr>
            <a:normAutofit/>
          </a:bodyPr>
          <a:lstStyle>
            <a:lvl1pPr marL="0" indent="0">
              <a:buNone/>
              <a:defRPr sz="1100"/>
            </a:lvl1pPr>
          </a:lstStyle>
          <a:p>
            <a:pPr lvl="0"/>
            <a:r>
              <a:rPr lang="nb-NO"/>
              <a:t>Rediger tekststiler i malen</a:t>
            </a:r>
          </a:p>
        </p:txBody>
      </p:sp>
      <p:sp>
        <p:nvSpPr>
          <p:cNvPr id="10" name="TekstSylinder 9"/>
          <p:cNvSpPr txBox="1"/>
          <p:nvPr/>
        </p:nvSpPr>
        <p:spPr>
          <a:xfrm>
            <a:off x="321793" y="4688140"/>
            <a:ext cx="2045311" cy="206307"/>
          </a:xfrm>
          <a:prstGeom prst="rect">
            <a:avLst/>
          </a:prstGeom>
          <a:noFill/>
        </p:spPr>
        <p:txBody>
          <a:bodyPr wrap="square" lIns="34054" tIns="17027" rIns="34054" bIns="17027" rtlCol="0">
            <a:spAutoFit/>
          </a:bodyPr>
          <a:lstStyle/>
          <a:p>
            <a:r>
              <a:rPr lang="nb-NO" sz="1100" b="1"/>
              <a:t>Skatteetaten.no</a:t>
            </a:r>
          </a:p>
        </p:txBody>
      </p:sp>
      <p:sp>
        <p:nvSpPr>
          <p:cNvPr id="8" name="Rektangel 7"/>
          <p:cNvSpPr/>
          <p:nvPr/>
        </p:nvSpPr>
        <p:spPr>
          <a:xfrm>
            <a:off x="4305136" y="321841"/>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12" name="Bild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0"/>
            <a:ext cx="1755652" cy="621793"/>
          </a:xfrm>
          <a:prstGeom prst="rect">
            <a:avLst/>
          </a:prstGeom>
        </p:spPr>
      </p:pic>
    </p:spTree>
    <p:extLst>
      <p:ext uri="{BB962C8B-B14F-4D97-AF65-F5344CB8AC3E}">
        <p14:creationId xmlns:p14="http://schemas.microsoft.com/office/powerpoint/2010/main" val="1835638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Avslutning">
    <p:spTree>
      <p:nvGrpSpPr>
        <p:cNvPr id="1" name=""/>
        <p:cNvGrpSpPr/>
        <p:nvPr/>
      </p:nvGrpSpPr>
      <p:grpSpPr>
        <a:xfrm>
          <a:off x="0" y="0"/>
          <a:ext cx="0" cy="0"/>
          <a:chOff x="0" y="0"/>
          <a:chExt cx="0" cy="0"/>
        </a:xfrm>
      </p:grpSpPr>
      <p:sp>
        <p:nvSpPr>
          <p:cNvPr id="2" name="Rektangel 1"/>
          <p:cNvSpPr/>
          <p:nvPr/>
        </p:nvSpPr>
        <p:spPr>
          <a:xfrm>
            <a:off x="0" y="0"/>
            <a:ext cx="9145588" cy="5108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3" name="Bild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4355" y="1621676"/>
            <a:ext cx="2736878" cy="1865222"/>
          </a:xfrm>
          <a:prstGeom prst="rect">
            <a:avLst/>
          </a:prstGeom>
        </p:spPr>
      </p:pic>
    </p:spTree>
    <p:extLst>
      <p:ext uri="{BB962C8B-B14F-4D97-AF65-F5344CB8AC3E}">
        <p14:creationId xmlns:p14="http://schemas.microsoft.com/office/powerpoint/2010/main" val="26684089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0" y="3688204"/>
            <a:ext cx="6364237" cy="1420371"/>
          </a:xfrm>
          <a:prstGeom prst="rect">
            <a:avLst/>
          </a:prstGeom>
        </p:spPr>
      </p:pic>
      <p:sp>
        <p:nvSpPr>
          <p:cNvPr id="2" name="Title 1"/>
          <p:cNvSpPr>
            <a:spLocks noGrp="1"/>
          </p:cNvSpPr>
          <p:nvPr>
            <p:ph type="title"/>
          </p:nvPr>
        </p:nvSpPr>
        <p:spPr>
          <a:xfrm>
            <a:off x="288036" y="268201"/>
            <a:ext cx="4789290" cy="346249"/>
          </a:xfrm>
        </p:spPr>
        <p:txBody>
          <a:bodyPr wrap="square">
            <a:normAutofit/>
          </a:bodyPr>
          <a:lstStyle>
            <a:lvl1pPr>
              <a:defRPr sz="2500"/>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1B64C1CA-9320-4112-886C-AAF9BAD3F488}" type="datetime1">
              <a:rPr lang="nb-NO" smtClean="0"/>
              <a:t>13.10.2021</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pic>
        <p:nvPicPr>
          <p:cNvPr id="14" name="Bilde 13"/>
          <p:cNvPicPr>
            <a:picLocks noChangeAspect="1"/>
          </p:cNvPicPr>
          <p:nvPr/>
        </p:nvPicPr>
        <p:blipFill rotWithShape="1">
          <a:blip r:embed="rId3">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40991814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Forsi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24041" y="2138898"/>
            <a:ext cx="7658373" cy="623248"/>
          </a:xfrm>
        </p:spPr>
        <p:txBody>
          <a:bodyPr wrap="square" anchor="b" anchorCtr="0">
            <a:normAutofit/>
          </a:bodyPr>
          <a:lstStyle>
            <a:lvl1pPr algn="l">
              <a:defRPr sz="4469"/>
            </a:lvl1pPr>
          </a:lstStyle>
          <a:p>
            <a:r>
              <a:rPr lang="nb-NO"/>
              <a:t>Klikk for å redigere tittelstil</a:t>
            </a:r>
            <a:endParaRPr lang="en-US" dirty="0"/>
          </a:p>
        </p:txBody>
      </p:sp>
      <p:sp>
        <p:nvSpPr>
          <p:cNvPr id="3" name="Subtitle 2"/>
          <p:cNvSpPr>
            <a:spLocks noGrp="1"/>
          </p:cNvSpPr>
          <p:nvPr>
            <p:ph type="subTitle" idx="1"/>
          </p:nvPr>
        </p:nvSpPr>
        <p:spPr>
          <a:xfrm>
            <a:off x="324041" y="2888750"/>
            <a:ext cx="6584760" cy="346249"/>
          </a:xfrm>
        </p:spPr>
        <p:txBody>
          <a:bodyPr wrap="square">
            <a:normAutofit/>
          </a:bodyPr>
          <a:lstStyle>
            <a:lvl1pPr marL="0" indent="0" algn="l">
              <a:buNone/>
              <a:defRPr sz="2483" b="1"/>
            </a:lvl1pPr>
            <a:lvl2pPr marL="338170" indent="0" algn="ctr">
              <a:buNone/>
              <a:defRPr sz="1490"/>
            </a:lvl2pPr>
            <a:lvl3pPr marL="676341" indent="0" algn="ctr">
              <a:buNone/>
              <a:defRPr sz="1291"/>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dirty="0"/>
          </a:p>
        </p:txBody>
      </p:sp>
      <p:sp>
        <p:nvSpPr>
          <p:cNvPr id="9" name="Date Placeholder 3"/>
          <p:cNvSpPr>
            <a:spLocks noGrp="1"/>
          </p:cNvSpPr>
          <p:nvPr>
            <p:ph type="dt" sz="half" idx="10"/>
          </p:nvPr>
        </p:nvSpPr>
        <p:spPr>
          <a:xfrm>
            <a:off x="7462839" y="268201"/>
            <a:ext cx="1340263" cy="153888"/>
          </a:xfrm>
        </p:spPr>
        <p:txBody>
          <a:bodyPr>
            <a:spAutoFit/>
          </a:bodyPr>
          <a:lstStyle>
            <a:lvl1pPr algn="r">
              <a:defRPr sz="993"/>
            </a:lvl1pPr>
          </a:lstStyle>
          <a:p>
            <a:fld id="{4ECF339B-DE26-4CB1-847D-D0F793D508DD}" type="datetime1">
              <a:rPr lang="nb-NO" smtClean="0"/>
              <a:t>13.10.2021</a:t>
            </a:fld>
            <a:endParaRPr lang="nb-NO" dirty="0"/>
          </a:p>
        </p:txBody>
      </p:sp>
      <p:sp>
        <p:nvSpPr>
          <p:cNvPr id="10"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11"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spTree>
    <p:extLst>
      <p:ext uri="{BB962C8B-B14F-4D97-AF65-F5344CB8AC3E}">
        <p14:creationId xmlns:p14="http://schemas.microsoft.com/office/powerpoint/2010/main" val="262502681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0" y="2655183"/>
            <a:ext cx="3730785" cy="987421"/>
          </a:xfrm>
        </p:spPr>
        <p:txBody>
          <a:bodyPr>
            <a:normAutofit/>
          </a:bodyPr>
          <a:lstStyle>
            <a:lvl1pPr>
              <a:defRPr sz="3400"/>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6"/>
            <a:ext cx="3488884" cy="661455"/>
          </a:xfrm>
        </p:spPr>
        <p:txBody>
          <a:bodyPr>
            <a:normAutofit/>
          </a:bodyPr>
          <a:lstStyle>
            <a:lvl1pPr marL="0" indent="0">
              <a:buNone/>
              <a:defRPr sz="1100"/>
            </a:lvl1pPr>
          </a:lstStyle>
          <a:p>
            <a:pPr lvl="0"/>
            <a:r>
              <a:rPr lang="nb-NO"/>
              <a:t>Rediger tekststiler i malen</a:t>
            </a:r>
          </a:p>
        </p:txBody>
      </p:sp>
      <p:sp>
        <p:nvSpPr>
          <p:cNvPr id="10" name="TekstSylinder 9"/>
          <p:cNvSpPr txBox="1"/>
          <p:nvPr userDrawn="1"/>
        </p:nvSpPr>
        <p:spPr>
          <a:xfrm>
            <a:off x="321793" y="4688140"/>
            <a:ext cx="2045311" cy="206307"/>
          </a:xfrm>
          <a:prstGeom prst="rect">
            <a:avLst/>
          </a:prstGeom>
          <a:noFill/>
        </p:spPr>
        <p:txBody>
          <a:bodyPr wrap="square" lIns="34054" tIns="17027" rIns="34054" bIns="17027" rtlCol="0">
            <a:spAutoFit/>
          </a:bodyPr>
          <a:lstStyle/>
          <a:p>
            <a:r>
              <a:rPr lang="nb-NO" sz="1100" b="1"/>
              <a:t>Skatteetaten.no</a:t>
            </a:r>
          </a:p>
        </p:txBody>
      </p:sp>
      <p:sp>
        <p:nvSpPr>
          <p:cNvPr id="8" name="Rektangel 7"/>
          <p:cNvSpPr/>
          <p:nvPr userDrawn="1"/>
        </p:nvSpPr>
        <p:spPr>
          <a:xfrm>
            <a:off x="4305136" y="321841"/>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1755652" cy="621793"/>
          </a:xfrm>
          <a:prstGeom prst="rect">
            <a:avLst/>
          </a:prstGeom>
        </p:spPr>
      </p:pic>
    </p:spTree>
    <p:extLst>
      <p:ext uri="{BB962C8B-B14F-4D97-AF65-F5344CB8AC3E}">
        <p14:creationId xmlns:p14="http://schemas.microsoft.com/office/powerpoint/2010/main" val="35869407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6"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0C27853C-4794-44B2-A8FB-82E8C67B7A42}" type="datetime1">
              <a:rPr lang="nb-NO" smtClean="0"/>
              <a:t>13.10.2021</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23203378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1_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6"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dirty="0"/>
          </a:p>
        </p:txBody>
      </p:sp>
      <p:sp>
        <p:nvSpPr>
          <p:cNvPr id="3" name="Content Placeholder 2"/>
          <p:cNvSpPr>
            <a:spLocks noGrp="1"/>
          </p:cNvSpPr>
          <p:nvPr>
            <p:ph idx="1"/>
          </p:nvPr>
        </p:nvSpPr>
        <p:spPr>
          <a:xfrm>
            <a:off x="288036" y="1981200"/>
            <a:ext cx="8371046" cy="277139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0C27853C-4794-44B2-A8FB-82E8C67B7A42}" type="datetime1">
              <a:rPr lang="nb-NO" smtClean="0"/>
              <a:t>13.10.2021</a:t>
            </a:fld>
            <a:endParaRPr lang="nb-NO" dirty="0"/>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spTree>
    <p:extLst>
      <p:ext uri="{BB962C8B-B14F-4D97-AF65-F5344CB8AC3E}">
        <p14:creationId xmlns:p14="http://schemas.microsoft.com/office/powerpoint/2010/main" val="22231612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4444111"/>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469"/>
            </a:lvl1pPr>
          </a:lstStyle>
          <a:p>
            <a:r>
              <a:rPr lang="nb-NO"/>
              <a:t>Klikk for å redigere tittelstil</a:t>
            </a:r>
            <a:endParaRPr lang="en-US" dirty="0"/>
          </a:p>
        </p:txBody>
      </p:sp>
      <p:sp>
        <p:nvSpPr>
          <p:cNvPr id="4" name="Date Placeholder 3"/>
          <p:cNvSpPr>
            <a:spLocks noGrp="1"/>
          </p:cNvSpPr>
          <p:nvPr>
            <p:ph type="dt" sz="half" idx="10"/>
          </p:nvPr>
        </p:nvSpPr>
        <p:spPr>
          <a:xfrm>
            <a:off x="7462839" y="268201"/>
            <a:ext cx="1340263" cy="153888"/>
          </a:xfrm>
        </p:spPr>
        <p:txBody>
          <a:bodyPr>
            <a:spAutoFit/>
          </a:bodyPr>
          <a:lstStyle>
            <a:lvl1pPr algn="r">
              <a:defRPr sz="993"/>
            </a:lvl1pPr>
          </a:lstStyle>
          <a:p>
            <a:fld id="{E6DEC9C7-18CC-48A8-856E-8B8C0B6382E9}" type="datetime1">
              <a:rPr lang="nb-NO" smtClean="0"/>
              <a:t>13.10.2021</a:t>
            </a:fld>
            <a:endParaRPr lang="nb-NO" dirty="0"/>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sp>
        <p:nvSpPr>
          <p:cNvPr id="3" name="Subtitle 2"/>
          <p:cNvSpPr>
            <a:spLocks noGrp="1"/>
          </p:cNvSpPr>
          <p:nvPr>
            <p:ph type="subTitle" idx="1"/>
          </p:nvPr>
        </p:nvSpPr>
        <p:spPr>
          <a:xfrm>
            <a:off x="324040" y="2391878"/>
            <a:ext cx="8331224" cy="346249"/>
          </a:xfrm>
        </p:spPr>
        <p:txBody>
          <a:bodyPr>
            <a:normAutofit/>
          </a:bodyPr>
          <a:lstStyle>
            <a:lvl1pPr marL="0" indent="0" algn="l">
              <a:buNone/>
              <a:defRPr sz="2483" b="1"/>
            </a:lvl1pPr>
            <a:lvl2pPr marL="338170" indent="0" algn="ctr">
              <a:buNone/>
              <a:defRPr sz="1490"/>
            </a:lvl2pPr>
            <a:lvl3pPr marL="676341" indent="0" algn="ctr">
              <a:buNone/>
              <a:defRPr sz="1291"/>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dirty="0"/>
          </a:p>
        </p:txBody>
      </p:sp>
    </p:spTree>
    <p:extLst>
      <p:ext uri="{BB962C8B-B14F-4D97-AF65-F5344CB8AC3E}">
        <p14:creationId xmlns:p14="http://schemas.microsoft.com/office/powerpoint/2010/main" val="620695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80" y="1473433"/>
            <a:ext cx="4024733" cy="1869743"/>
          </a:xfrm>
        </p:spPr>
        <p:txBody>
          <a:bodyPr wrap="square">
            <a:normAutofit/>
          </a:bodyPr>
          <a:lstStyle>
            <a:lvl1pPr>
              <a:defRPr sz="4469"/>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5" y="4456303"/>
            <a:ext cx="9144019" cy="652273"/>
          </a:xfrm>
          <a:prstGeom prst="rect">
            <a:avLst/>
          </a:prstGeom>
        </p:spPr>
      </p:pic>
      <p:sp>
        <p:nvSpPr>
          <p:cNvPr id="12" name="Date Placeholder 3"/>
          <p:cNvSpPr>
            <a:spLocks noGrp="1"/>
          </p:cNvSpPr>
          <p:nvPr>
            <p:ph type="dt" sz="half" idx="10"/>
          </p:nvPr>
        </p:nvSpPr>
        <p:spPr>
          <a:xfrm>
            <a:off x="7462839" y="268201"/>
            <a:ext cx="1340263" cy="153888"/>
          </a:xfrm>
        </p:spPr>
        <p:txBody>
          <a:bodyPr>
            <a:spAutoFit/>
          </a:bodyPr>
          <a:lstStyle>
            <a:lvl1pPr algn="r">
              <a:defRPr sz="993"/>
            </a:lvl1pPr>
          </a:lstStyle>
          <a:p>
            <a:fld id="{B89DD950-73F7-4004-B10D-E4A2EA37D48F}" type="datetime1">
              <a:rPr lang="nb-NO" smtClean="0"/>
              <a:t>13.10.2021</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1"/>
            <a:ext cx="3952800" cy="2970371"/>
          </a:xfrm>
          <a:prstGeom prst="rect">
            <a:avLst/>
          </a:prstGeom>
          <a:solidFill>
            <a:schemeClr val="bg2"/>
          </a:solidFill>
        </p:spPr>
        <p:txBody>
          <a:bodyPr lIns="0" tIns="0" rIns="0" bIns="670365"/>
          <a:lstStyle/>
          <a:p>
            <a:r>
              <a:rPr lang="nb-NO"/>
              <a:t>Klikk på ikonet for å legge til et bilde</a:t>
            </a:r>
          </a:p>
        </p:txBody>
      </p:sp>
    </p:spTree>
    <p:extLst>
      <p:ext uri="{BB962C8B-B14F-4D97-AF65-F5344CB8AC3E}">
        <p14:creationId xmlns:p14="http://schemas.microsoft.com/office/powerpoint/2010/main" val="41481207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1" y="2655184"/>
            <a:ext cx="3730785" cy="987421"/>
          </a:xfrm>
        </p:spPr>
        <p:txBody>
          <a:bodyPr>
            <a:normAutofit/>
          </a:bodyPr>
          <a:lstStyle>
            <a:lvl1pPr>
              <a:defRPr sz="3377"/>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7"/>
            <a:ext cx="3488884" cy="661455"/>
          </a:xfrm>
        </p:spPr>
        <p:txBody>
          <a:bodyPr>
            <a:normAutofit/>
          </a:bodyPr>
          <a:lstStyle>
            <a:lvl1pPr marL="0" indent="0">
              <a:buNone/>
              <a:defRPr sz="1092"/>
            </a:lvl1pPr>
          </a:lstStyle>
          <a:p>
            <a:pPr lvl="0"/>
            <a:r>
              <a:rPr lang="nb-NO"/>
              <a:t>Klikk for å redigere tekststiler i malen</a:t>
            </a:r>
          </a:p>
        </p:txBody>
      </p:sp>
      <p:sp>
        <p:nvSpPr>
          <p:cNvPr id="10" name="TekstSylinder 9"/>
          <p:cNvSpPr txBox="1"/>
          <p:nvPr userDrawn="1"/>
        </p:nvSpPr>
        <p:spPr>
          <a:xfrm>
            <a:off x="321793" y="4688141"/>
            <a:ext cx="2045311" cy="202208"/>
          </a:xfrm>
          <a:prstGeom prst="rect">
            <a:avLst/>
          </a:prstGeom>
          <a:noFill/>
        </p:spPr>
        <p:txBody>
          <a:bodyPr wrap="square" lIns="33817" tIns="16909" rIns="33817" bIns="16909" rtlCol="0">
            <a:spAutoFit/>
          </a:bodyPr>
          <a:lstStyle/>
          <a:p>
            <a:r>
              <a:rPr lang="nb-NO" sz="1092" b="1"/>
              <a:t>Skatteetaten.no</a:t>
            </a:r>
          </a:p>
        </p:txBody>
      </p:sp>
      <p:sp>
        <p:nvSpPr>
          <p:cNvPr id="8" name="Rektangel 7"/>
          <p:cNvSpPr/>
          <p:nvPr userDrawn="1"/>
        </p:nvSpPr>
        <p:spPr>
          <a:xfrm>
            <a:off x="4305137" y="321842"/>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
            <a:ext cx="1755652" cy="621793"/>
          </a:xfrm>
          <a:prstGeom prst="rect">
            <a:avLst/>
          </a:prstGeom>
        </p:spPr>
      </p:pic>
    </p:spTree>
    <p:extLst>
      <p:ext uri="{BB962C8B-B14F-4D97-AF65-F5344CB8AC3E}">
        <p14:creationId xmlns:p14="http://schemas.microsoft.com/office/powerpoint/2010/main" val="24102160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80" y="1473433"/>
            <a:ext cx="4024733" cy="1869743"/>
          </a:xfrm>
        </p:spPr>
        <p:txBody>
          <a:bodyPr wrap="square">
            <a:normAutofit/>
          </a:bodyPr>
          <a:lstStyle>
            <a:lvl1pPr>
              <a:defRPr sz="4469"/>
            </a:lvl1pPr>
          </a:lstStyle>
          <a:p>
            <a:r>
              <a:rPr lang="nb-NO"/>
              <a:t>Klikk for å redigere tittelstil</a:t>
            </a:r>
            <a:endParaRPr lang="nb-NO" dirty="0"/>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5" y="4456303"/>
            <a:ext cx="9144019" cy="652273"/>
          </a:xfrm>
          <a:prstGeom prst="rect">
            <a:avLst/>
          </a:prstGeom>
        </p:spPr>
      </p:pic>
      <p:sp>
        <p:nvSpPr>
          <p:cNvPr id="12" name="Date Placeholder 3"/>
          <p:cNvSpPr>
            <a:spLocks noGrp="1"/>
          </p:cNvSpPr>
          <p:nvPr>
            <p:ph type="dt" sz="half" idx="10"/>
          </p:nvPr>
        </p:nvSpPr>
        <p:spPr>
          <a:xfrm>
            <a:off x="7462839" y="268201"/>
            <a:ext cx="1340263" cy="153888"/>
          </a:xfrm>
        </p:spPr>
        <p:txBody>
          <a:bodyPr>
            <a:spAutoFit/>
          </a:bodyPr>
          <a:lstStyle>
            <a:lvl1pPr algn="r">
              <a:defRPr sz="993"/>
            </a:lvl1pPr>
          </a:lstStyle>
          <a:p>
            <a:fld id="{B89DD950-73F7-4004-B10D-E4A2EA37D48F}" type="datetime1">
              <a:rPr lang="nb-NO" smtClean="0"/>
              <a:t>13.10.2021</a:t>
            </a:fld>
            <a:endParaRPr lang="nb-NO" dirty="0"/>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sp>
        <p:nvSpPr>
          <p:cNvPr id="15" name="Plassholder for bilde 14"/>
          <p:cNvSpPr>
            <a:spLocks noGrp="1"/>
          </p:cNvSpPr>
          <p:nvPr>
            <p:ph type="pic" sz="quarter" idx="15"/>
          </p:nvPr>
        </p:nvSpPr>
        <p:spPr>
          <a:xfrm>
            <a:off x="4781398" y="1440181"/>
            <a:ext cx="3952800" cy="2970371"/>
          </a:xfrm>
          <a:prstGeom prst="rect">
            <a:avLst/>
          </a:prstGeom>
          <a:solidFill>
            <a:schemeClr val="bg2"/>
          </a:solidFill>
        </p:spPr>
        <p:txBody>
          <a:bodyPr lIns="0" tIns="0" rIns="0" bIns="670365"/>
          <a:lstStyle/>
          <a:p>
            <a:r>
              <a:rPr lang="nb-NO"/>
              <a:t>Klikk ikonet for å legge til et bilde</a:t>
            </a:r>
            <a:endParaRPr lang="nb-NO" dirty="0"/>
          </a:p>
        </p:txBody>
      </p:sp>
    </p:spTree>
    <p:extLst>
      <p:ext uri="{BB962C8B-B14F-4D97-AF65-F5344CB8AC3E}">
        <p14:creationId xmlns:p14="http://schemas.microsoft.com/office/powerpoint/2010/main" val="11328350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1" y="2655184"/>
            <a:ext cx="3730785" cy="987421"/>
          </a:xfrm>
        </p:spPr>
        <p:txBody>
          <a:bodyPr>
            <a:normAutofit/>
          </a:bodyPr>
          <a:lstStyle>
            <a:lvl1pPr>
              <a:defRPr sz="3377"/>
            </a:lvl1pPr>
          </a:lstStyle>
          <a:p>
            <a:r>
              <a:rPr lang="nb-NO"/>
              <a:t>Klikk for å redigere tittelstil</a:t>
            </a:r>
            <a:endParaRPr lang="en-US" dirty="0"/>
          </a:p>
        </p:txBody>
      </p:sp>
      <p:sp>
        <p:nvSpPr>
          <p:cNvPr id="7" name="Plassholder for tekst 6"/>
          <p:cNvSpPr>
            <a:spLocks noGrp="1"/>
          </p:cNvSpPr>
          <p:nvPr>
            <p:ph type="body" sz="quarter" idx="13"/>
          </p:nvPr>
        </p:nvSpPr>
        <p:spPr>
          <a:xfrm>
            <a:off x="321791" y="3945227"/>
            <a:ext cx="3488884" cy="661455"/>
          </a:xfrm>
        </p:spPr>
        <p:txBody>
          <a:bodyPr>
            <a:normAutofit/>
          </a:bodyPr>
          <a:lstStyle>
            <a:lvl1pPr marL="0" indent="0">
              <a:buNone/>
              <a:defRPr sz="1092"/>
            </a:lvl1pPr>
          </a:lstStyle>
          <a:p>
            <a:pPr lvl="0"/>
            <a:r>
              <a:rPr lang="nb-NO"/>
              <a:t>Rediger tekststiler i malen</a:t>
            </a:r>
          </a:p>
        </p:txBody>
      </p:sp>
      <p:sp>
        <p:nvSpPr>
          <p:cNvPr id="10" name="TekstSylinder 9"/>
          <p:cNvSpPr txBox="1"/>
          <p:nvPr userDrawn="1"/>
        </p:nvSpPr>
        <p:spPr>
          <a:xfrm>
            <a:off x="321793" y="4688141"/>
            <a:ext cx="2045311" cy="202208"/>
          </a:xfrm>
          <a:prstGeom prst="rect">
            <a:avLst/>
          </a:prstGeom>
          <a:noFill/>
        </p:spPr>
        <p:txBody>
          <a:bodyPr wrap="square" lIns="33817" tIns="16909" rIns="33817" bIns="16909" rtlCol="0">
            <a:spAutoFit/>
          </a:bodyPr>
          <a:lstStyle/>
          <a:p>
            <a:r>
              <a:rPr lang="nb-NO" sz="1092" b="1" dirty="0"/>
              <a:t>Skatteetaten.no</a:t>
            </a:r>
          </a:p>
        </p:txBody>
      </p:sp>
      <p:sp>
        <p:nvSpPr>
          <p:cNvPr id="8" name="Rektangel 7"/>
          <p:cNvSpPr/>
          <p:nvPr userDrawn="1"/>
        </p:nvSpPr>
        <p:spPr>
          <a:xfrm>
            <a:off x="4305137" y="321842"/>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dirty="0"/>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
            <a:ext cx="1755652" cy="621793"/>
          </a:xfrm>
          <a:prstGeom prst="rect">
            <a:avLst/>
          </a:prstGeom>
        </p:spPr>
      </p:pic>
    </p:spTree>
    <p:extLst>
      <p:ext uri="{BB962C8B-B14F-4D97-AF65-F5344CB8AC3E}">
        <p14:creationId xmlns:p14="http://schemas.microsoft.com/office/powerpoint/2010/main" val="20672018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Avslutning">
    <p:spTree>
      <p:nvGrpSpPr>
        <p:cNvPr id="1" name=""/>
        <p:cNvGrpSpPr/>
        <p:nvPr/>
      </p:nvGrpSpPr>
      <p:grpSpPr>
        <a:xfrm>
          <a:off x="0" y="0"/>
          <a:ext cx="0" cy="0"/>
          <a:chOff x="0" y="0"/>
          <a:chExt cx="0" cy="0"/>
        </a:xfrm>
      </p:grpSpPr>
      <p:sp>
        <p:nvSpPr>
          <p:cNvPr id="2" name="Rektangel 1"/>
          <p:cNvSpPr/>
          <p:nvPr userDrawn="1"/>
        </p:nvSpPr>
        <p:spPr>
          <a:xfrm>
            <a:off x="0" y="1"/>
            <a:ext cx="9145588" cy="5108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dirty="0"/>
          </a:p>
        </p:txBody>
      </p:sp>
      <p:pic>
        <p:nvPicPr>
          <p:cNvPr id="3" name="Bil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4356" y="1621677"/>
            <a:ext cx="2736878" cy="1865222"/>
          </a:xfrm>
          <a:prstGeom prst="rect">
            <a:avLst/>
          </a:prstGeom>
        </p:spPr>
      </p:pic>
    </p:spTree>
    <p:extLst>
      <p:ext uri="{BB962C8B-B14F-4D97-AF65-F5344CB8AC3E}">
        <p14:creationId xmlns:p14="http://schemas.microsoft.com/office/powerpoint/2010/main" val="3344077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3688205"/>
            <a:ext cx="6364237" cy="1420371"/>
          </a:xfrm>
          <a:prstGeom prst="rect">
            <a:avLst/>
          </a:prstGeom>
        </p:spPr>
      </p:pic>
      <p:sp>
        <p:nvSpPr>
          <p:cNvPr id="2" name="Title 1"/>
          <p:cNvSpPr>
            <a:spLocks noGrp="1"/>
          </p:cNvSpPr>
          <p:nvPr>
            <p:ph type="title"/>
          </p:nvPr>
        </p:nvSpPr>
        <p:spPr>
          <a:xfrm>
            <a:off x="288036" y="268202"/>
            <a:ext cx="4789290" cy="346249"/>
          </a:xfrm>
        </p:spPr>
        <p:txBody>
          <a:bodyPr wrap="square">
            <a:normAutofit/>
          </a:bodyPr>
          <a:lstStyle>
            <a:lvl1pPr>
              <a:defRPr sz="2483"/>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1B64C1CA-9320-4112-886C-AAF9BAD3F488}" type="datetime1">
              <a:rPr lang="nb-NO" smtClean="0"/>
              <a:t>13.10.2021</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pic>
        <p:nvPicPr>
          <p:cNvPr id="14" name="Bild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40901443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Innhold uten tittel">
    <p:spTree>
      <p:nvGrpSpPr>
        <p:cNvPr id="1" name=""/>
        <p:cNvGrpSpPr/>
        <p:nvPr/>
      </p:nvGrpSpPr>
      <p:grpSpPr>
        <a:xfrm>
          <a:off x="0" y="0"/>
          <a:ext cx="0" cy="0"/>
          <a:chOff x="0" y="0"/>
          <a:chExt cx="0" cy="0"/>
        </a:xfrm>
      </p:grpSpPr>
      <p:sp>
        <p:nvSpPr>
          <p:cNvPr id="7" name="Content Placeholder 3"/>
          <p:cNvSpPr>
            <a:spLocks noGrp="1"/>
          </p:cNvSpPr>
          <p:nvPr>
            <p:ph sz="half" idx="2"/>
          </p:nvPr>
        </p:nvSpPr>
        <p:spPr>
          <a:xfrm>
            <a:off x="321980" y="1362459"/>
            <a:ext cx="8515018" cy="347453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12173DBC-4668-4C86-BB6C-D39D054CCB24}" type="datetime1">
              <a:rPr lang="nb-NO" smtClean="0"/>
              <a:t>13.10.2021</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15605317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79" y="1473432"/>
            <a:ext cx="4024733" cy="1869743"/>
          </a:xfrm>
        </p:spPr>
        <p:txBody>
          <a:bodyPr wrap="square">
            <a:normAutofit/>
          </a:bodyPr>
          <a:lstStyle>
            <a:lvl1pPr>
              <a:defRPr sz="4500"/>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4" y="4456302"/>
            <a:ext cx="9144019" cy="652273"/>
          </a:xfrm>
          <a:prstGeom prst="rect">
            <a:avLst/>
          </a:prstGeom>
        </p:spPr>
      </p:pic>
      <p:sp>
        <p:nvSpPr>
          <p:cNvPr id="12" name="Date Placeholder 3"/>
          <p:cNvSpPr>
            <a:spLocks noGrp="1"/>
          </p:cNvSpPr>
          <p:nvPr>
            <p:ph type="dt" sz="half" idx="10"/>
          </p:nvPr>
        </p:nvSpPr>
        <p:spPr>
          <a:xfrm>
            <a:off x="7462838" y="268201"/>
            <a:ext cx="1340263" cy="153888"/>
          </a:xfrm>
        </p:spPr>
        <p:txBody>
          <a:bodyPr>
            <a:spAutoFit/>
          </a:bodyPr>
          <a:lstStyle>
            <a:lvl1pPr algn="r">
              <a:defRPr sz="1000"/>
            </a:lvl1pPr>
          </a:lstStyle>
          <a:p>
            <a:fld id="{B89DD950-73F7-4004-B10D-E4A2EA37D48F}" type="datetime1">
              <a:rPr lang="nb-NO" smtClean="0"/>
              <a:t>13.10.2021</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0"/>
            <a:ext cx="3952800" cy="2970371"/>
          </a:xfrm>
          <a:prstGeom prst="rect">
            <a:avLst/>
          </a:prstGeom>
          <a:solidFill>
            <a:schemeClr val="bg2"/>
          </a:solidFill>
        </p:spPr>
        <p:txBody>
          <a:bodyPr lIns="0" tIns="0" rIns="0" bIns="670365"/>
          <a:lstStyle/>
          <a:p>
            <a:r>
              <a:rPr lang="nb-NO"/>
              <a:t>Klikk på ikonet for å legge til et bilde</a:t>
            </a:r>
          </a:p>
        </p:txBody>
      </p:sp>
    </p:spTree>
    <p:extLst>
      <p:ext uri="{BB962C8B-B14F-4D97-AF65-F5344CB8AC3E}">
        <p14:creationId xmlns:p14="http://schemas.microsoft.com/office/powerpoint/2010/main" val="39342816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Only">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Date Placeholder 2"/>
          <p:cNvSpPr>
            <a:spLocks noGrp="1"/>
          </p:cNvSpPr>
          <p:nvPr>
            <p:ph type="dt" sz="half" idx="10"/>
          </p:nvPr>
        </p:nvSpPr>
        <p:spPr/>
        <p:txBody>
          <a:bodyPr/>
          <a:lstStyle/>
          <a:p>
            <a:fld id="{7B6A9958-587B-4A8F-AC94-6255560209F3}" type="datetime1">
              <a:rPr lang="nb-NO" smtClean="0"/>
              <a:t>13.10.2021</a:t>
            </a:fld>
            <a:endParaRPr lang="nb-NO"/>
          </a:p>
        </p:txBody>
      </p:sp>
      <p:sp>
        <p:nvSpPr>
          <p:cNvPr id="4" name="Footer Placeholder 3"/>
          <p:cNvSpPr>
            <a:spLocks noGrp="1"/>
          </p:cNvSpPr>
          <p:nvPr>
            <p:ph type="ftr" sz="quarter" idx="11"/>
          </p:nvPr>
        </p:nvSpPr>
        <p:spPr/>
        <p:txBody>
          <a:bodyPr/>
          <a:lstStyle/>
          <a:p>
            <a:endParaRPr lang="nb-NO"/>
          </a:p>
        </p:txBody>
      </p:sp>
      <p:sp>
        <p:nvSpPr>
          <p:cNvPr id="5" name="Slide Number Placeholder 4"/>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12095286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obj" preserve="1">
  <p:cSld name="1_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3688205"/>
            <a:ext cx="6364237" cy="1420371"/>
          </a:xfrm>
          <a:prstGeom prst="rect">
            <a:avLst/>
          </a:prstGeom>
        </p:spPr>
      </p:pic>
      <p:sp>
        <p:nvSpPr>
          <p:cNvPr id="2" name="Title 1"/>
          <p:cNvSpPr>
            <a:spLocks noGrp="1"/>
          </p:cNvSpPr>
          <p:nvPr>
            <p:ph type="title"/>
          </p:nvPr>
        </p:nvSpPr>
        <p:spPr>
          <a:xfrm>
            <a:off x="288036" y="268202"/>
            <a:ext cx="4789290" cy="346249"/>
          </a:xfrm>
        </p:spPr>
        <p:txBody>
          <a:bodyPr wrap="square">
            <a:normAutofit/>
          </a:bodyPr>
          <a:lstStyle>
            <a:lvl1pPr>
              <a:defRPr sz="2483"/>
            </a:lvl1pPr>
          </a:lstStyle>
          <a:p>
            <a:r>
              <a:rPr lang="nb-NO"/>
              <a:t>Klikk for å redigere tittelstil</a:t>
            </a:r>
            <a:endParaRPr lang="en-US" dirty="0"/>
          </a:p>
        </p:txBody>
      </p:sp>
      <p:sp>
        <p:nvSpPr>
          <p:cNvPr id="3" name="Content Placeholder 2"/>
          <p:cNvSpPr>
            <a:spLocks noGrp="1"/>
          </p:cNvSpPr>
          <p:nvPr>
            <p:ph idx="1"/>
          </p:nvPr>
        </p:nvSpPr>
        <p:spPr>
          <a:xfrm>
            <a:off x="936117" y="817302"/>
            <a:ext cx="7020878" cy="3647256"/>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1B64C1CA-9320-4112-886C-AAF9BAD3F488}" type="datetime1">
              <a:rPr lang="nb-NO" smtClean="0"/>
              <a:t>13.10.2021</a:t>
            </a:fld>
            <a:endParaRPr lang="nb-NO" dirty="0"/>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pic>
        <p:nvPicPr>
          <p:cNvPr id="14" name="Bild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41301797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Klikk for å redigere tittelstil</a:t>
            </a:r>
            <a:endParaRPr lang="en-US" dirty="0"/>
          </a:p>
        </p:txBody>
      </p:sp>
      <p:sp>
        <p:nvSpPr>
          <p:cNvPr id="3" name="Content Placeholder 2"/>
          <p:cNvSpPr>
            <a:spLocks noGrp="1"/>
          </p:cNvSpPr>
          <p:nvPr>
            <p:ph idx="1"/>
          </p:nvPr>
        </p:nvSpPr>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10"/>
          </p:nvPr>
        </p:nvSpPr>
        <p:spPr/>
        <p:txBody>
          <a:bodyPr/>
          <a:lstStyle/>
          <a:p>
            <a:fld id="{64EBF9E4-967E-4BCD-89CF-2C76776E7D00}" type="datetime4">
              <a:rPr lang="nb-NO" smtClean="0">
                <a:solidFill>
                  <a:prstClr val="black"/>
                </a:solidFill>
              </a:rPr>
              <a:pPr/>
              <a:t>13. oktober 2021</a:t>
            </a:fld>
            <a:endParaRPr lang="nb-NO">
              <a:solidFill>
                <a:prstClr val="black"/>
              </a:solidFill>
            </a:endParaRPr>
          </a:p>
        </p:txBody>
      </p:sp>
      <p:sp>
        <p:nvSpPr>
          <p:cNvPr id="5" name="Footer Placeholder 4"/>
          <p:cNvSpPr>
            <a:spLocks noGrp="1"/>
          </p:cNvSpPr>
          <p:nvPr>
            <p:ph type="ftr" sz="quarter" idx="11"/>
          </p:nvPr>
        </p:nvSpPr>
        <p:spPr/>
        <p:txBody>
          <a:bodyPr/>
          <a:lstStyle/>
          <a:p>
            <a:endParaRPr lang="nb-NO">
              <a:solidFill>
                <a:prstClr val="black"/>
              </a:solidFill>
            </a:endParaRPr>
          </a:p>
        </p:txBody>
      </p:sp>
      <p:sp>
        <p:nvSpPr>
          <p:cNvPr id="6" name="Slide Number Placeholder 5"/>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41150726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nnhold uten tittel">
    <p:spTree>
      <p:nvGrpSpPr>
        <p:cNvPr id="1" name=""/>
        <p:cNvGrpSpPr/>
        <p:nvPr/>
      </p:nvGrpSpPr>
      <p:grpSpPr>
        <a:xfrm>
          <a:off x="0" y="0"/>
          <a:ext cx="0" cy="0"/>
          <a:chOff x="0" y="0"/>
          <a:chExt cx="0" cy="0"/>
        </a:xfrm>
      </p:grpSpPr>
      <p:sp>
        <p:nvSpPr>
          <p:cNvPr id="7" name="Content Placeholder 3"/>
          <p:cNvSpPr>
            <a:spLocks noGrp="1"/>
          </p:cNvSpPr>
          <p:nvPr>
            <p:ph sz="half" idx="2"/>
          </p:nvPr>
        </p:nvSpPr>
        <p:spPr>
          <a:xfrm>
            <a:off x="321980" y="1362459"/>
            <a:ext cx="8515018" cy="3474533"/>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10"/>
          </p:nvPr>
        </p:nvSpPr>
        <p:spPr/>
        <p:txBody>
          <a:bodyPr/>
          <a:lstStyle/>
          <a:p>
            <a:fld id="{1A1F10B7-A01E-430E-A625-DB4259FCF2CA}" type="datetime4">
              <a:rPr lang="nb-NO" smtClean="0">
                <a:solidFill>
                  <a:prstClr val="black"/>
                </a:solidFill>
              </a:rPr>
              <a:pPr/>
              <a:t>13. oktober 2021</a:t>
            </a:fld>
            <a:endParaRPr lang="nb-NO">
              <a:solidFill>
                <a:prstClr val="black"/>
              </a:solidFill>
            </a:endParaRPr>
          </a:p>
        </p:txBody>
      </p:sp>
      <p:sp>
        <p:nvSpPr>
          <p:cNvPr id="5" name="Footer Placeholder 4"/>
          <p:cNvSpPr>
            <a:spLocks noGrp="1"/>
          </p:cNvSpPr>
          <p:nvPr>
            <p:ph type="ftr" sz="quarter" idx="11"/>
          </p:nvPr>
        </p:nvSpPr>
        <p:spPr/>
        <p:txBody>
          <a:bodyPr/>
          <a:lstStyle/>
          <a:p>
            <a:endParaRPr lang="nb-NO">
              <a:solidFill>
                <a:prstClr val="black"/>
              </a:solidFill>
            </a:endParaRPr>
          </a:p>
        </p:txBody>
      </p:sp>
      <p:sp>
        <p:nvSpPr>
          <p:cNvPr id="6" name="Slide Number Placeholder 5"/>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3668417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 innhold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5" name="Date Placeholder 4"/>
          <p:cNvSpPr>
            <a:spLocks noGrp="1"/>
          </p:cNvSpPr>
          <p:nvPr>
            <p:ph type="dt" sz="half" idx="10"/>
          </p:nvPr>
        </p:nvSpPr>
        <p:spPr/>
        <p:txBody>
          <a:bodyPr/>
          <a:lstStyle/>
          <a:p>
            <a:fld id="{7A95B750-15F4-451A-8667-7ADED38B05BE}" type="datetime4">
              <a:rPr lang="nb-NO" smtClean="0">
                <a:solidFill>
                  <a:prstClr val="black"/>
                </a:solidFill>
              </a:rPr>
              <a:pPr/>
              <a:t>13. oktober 2021</a:t>
            </a:fld>
            <a:endParaRPr lang="nb-NO">
              <a:solidFill>
                <a:prstClr val="black"/>
              </a:solidFill>
            </a:endParaRPr>
          </a:p>
        </p:txBody>
      </p:sp>
      <p:sp>
        <p:nvSpPr>
          <p:cNvPr id="6" name="Footer Placeholder 5"/>
          <p:cNvSpPr>
            <a:spLocks noGrp="1"/>
          </p:cNvSpPr>
          <p:nvPr>
            <p:ph type="ftr" sz="quarter" idx="11"/>
          </p:nvPr>
        </p:nvSpPr>
        <p:spPr/>
        <p:txBody>
          <a:bodyPr/>
          <a:lstStyle/>
          <a:p>
            <a:endParaRPr lang="nb-NO">
              <a:solidFill>
                <a:prstClr val="black"/>
              </a:solidFill>
            </a:endParaRPr>
          </a:p>
        </p:txBody>
      </p:sp>
      <p:sp>
        <p:nvSpPr>
          <p:cNvPr id="7" name="Slide Number Placeholder 6"/>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
        <p:nvSpPr>
          <p:cNvPr id="2" name="Tittel 1"/>
          <p:cNvSpPr>
            <a:spLocks noGrp="1"/>
          </p:cNvSpPr>
          <p:nvPr>
            <p:ph type="title"/>
          </p:nvPr>
        </p:nvSpPr>
        <p:spPr>
          <a:xfrm>
            <a:off x="321980" y="1296192"/>
            <a:ext cx="3796676" cy="987421"/>
          </a:xfrm>
        </p:spPr>
        <p:txBody>
          <a:bodyPr/>
          <a:lstStyle/>
          <a:p>
            <a:r>
              <a:rPr lang="nb-NO" dirty="0"/>
              <a:t>Klikk for å redigere tittelstil</a:t>
            </a:r>
          </a:p>
        </p:txBody>
      </p:sp>
      <p:sp>
        <p:nvSpPr>
          <p:cNvPr id="3" name="Plassholder for innhold 2"/>
          <p:cNvSpPr>
            <a:spLocks noGrp="1"/>
          </p:cNvSpPr>
          <p:nvPr>
            <p:ph sz="quarter" idx="14"/>
          </p:nvPr>
        </p:nvSpPr>
        <p:spPr>
          <a:xfrm>
            <a:off x="4718342" y="1341002"/>
            <a:ext cx="4118656" cy="3495989"/>
          </a:xfrm>
          <a:prstGeom prst="rect">
            <a:avLst/>
          </a:prstGeom>
        </p:spPr>
        <p:txBody>
          <a:bodyPr lIns="0" tIns="0" rIns="0" bIns="670365"/>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31096645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o innhold uten tittel">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1E7C2D4-C0D1-4D31-A9BF-AF1C4576BE51}" type="datetime4">
              <a:rPr lang="nb-NO" smtClean="0">
                <a:solidFill>
                  <a:prstClr val="black"/>
                </a:solidFill>
              </a:rPr>
              <a:pPr/>
              <a:t>13. oktober 2021</a:t>
            </a:fld>
            <a:endParaRPr lang="nb-NO">
              <a:solidFill>
                <a:prstClr val="black"/>
              </a:solidFill>
            </a:endParaRPr>
          </a:p>
        </p:txBody>
      </p:sp>
      <p:sp>
        <p:nvSpPr>
          <p:cNvPr id="6" name="Footer Placeholder 5"/>
          <p:cNvSpPr>
            <a:spLocks noGrp="1"/>
          </p:cNvSpPr>
          <p:nvPr>
            <p:ph type="ftr" sz="quarter" idx="11"/>
          </p:nvPr>
        </p:nvSpPr>
        <p:spPr/>
        <p:txBody>
          <a:bodyPr/>
          <a:lstStyle/>
          <a:p>
            <a:endParaRPr lang="nb-NO">
              <a:solidFill>
                <a:prstClr val="black"/>
              </a:solidFill>
            </a:endParaRPr>
          </a:p>
        </p:txBody>
      </p:sp>
      <p:sp>
        <p:nvSpPr>
          <p:cNvPr id="7" name="Slide Number Placeholder 6"/>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
        <p:nvSpPr>
          <p:cNvPr id="4" name="Plassholder for innhold 3"/>
          <p:cNvSpPr>
            <a:spLocks noGrp="1"/>
          </p:cNvSpPr>
          <p:nvPr>
            <p:ph sz="quarter" idx="16"/>
          </p:nvPr>
        </p:nvSpPr>
        <p:spPr>
          <a:xfrm>
            <a:off x="321979" y="1362459"/>
            <a:ext cx="4118656" cy="3474533"/>
          </a:xfrm>
          <a:prstGeom prst="rect">
            <a:avLst/>
          </a:prstGeom>
        </p:spPr>
        <p:txBody>
          <a:bodyPr lIns="0" tIns="0" rIns="0" bIns="670365"/>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8" name="Plassholder for innhold 7"/>
          <p:cNvSpPr>
            <a:spLocks noGrp="1"/>
          </p:cNvSpPr>
          <p:nvPr>
            <p:ph sz="quarter" idx="17"/>
          </p:nvPr>
        </p:nvSpPr>
        <p:spPr>
          <a:xfrm>
            <a:off x="4718342" y="1362459"/>
            <a:ext cx="4118656" cy="3474533"/>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015328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Klikk for å redigere tittelstil</a:t>
            </a:r>
            <a:endParaRPr lang="en-US" dirty="0"/>
          </a:p>
        </p:txBody>
      </p:sp>
      <p:sp>
        <p:nvSpPr>
          <p:cNvPr id="3" name="Content Placeholder 2"/>
          <p:cNvSpPr>
            <a:spLocks noGrp="1"/>
          </p:cNvSpPr>
          <p:nvPr>
            <p:ph sz="half" idx="1"/>
          </p:nvPr>
        </p:nvSpPr>
        <p:spPr>
          <a:xfrm>
            <a:off x="321979" y="2743688"/>
            <a:ext cx="4118656" cy="2093302"/>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Content Placeholder 3"/>
          <p:cNvSpPr>
            <a:spLocks noGrp="1"/>
          </p:cNvSpPr>
          <p:nvPr>
            <p:ph sz="half" idx="2"/>
          </p:nvPr>
        </p:nvSpPr>
        <p:spPr>
          <a:xfrm>
            <a:off x="4718342"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Date Placeholder 4"/>
          <p:cNvSpPr>
            <a:spLocks noGrp="1"/>
          </p:cNvSpPr>
          <p:nvPr>
            <p:ph type="dt" sz="half" idx="10"/>
          </p:nvPr>
        </p:nvSpPr>
        <p:spPr/>
        <p:txBody>
          <a:bodyPr/>
          <a:lstStyle/>
          <a:p>
            <a:fld id="{83B4AC39-CEE6-4345-B516-4A917885BCFF}" type="datetime4">
              <a:rPr lang="nb-NO" smtClean="0">
                <a:solidFill>
                  <a:prstClr val="black"/>
                </a:solidFill>
              </a:rPr>
              <a:pPr/>
              <a:t>13. oktober 2021</a:t>
            </a:fld>
            <a:endParaRPr lang="nb-NO">
              <a:solidFill>
                <a:prstClr val="black"/>
              </a:solidFill>
            </a:endParaRPr>
          </a:p>
        </p:txBody>
      </p:sp>
      <p:sp>
        <p:nvSpPr>
          <p:cNvPr id="6" name="Footer Placeholder 5"/>
          <p:cNvSpPr>
            <a:spLocks noGrp="1"/>
          </p:cNvSpPr>
          <p:nvPr>
            <p:ph type="ftr" sz="quarter" idx="11"/>
          </p:nvPr>
        </p:nvSpPr>
        <p:spPr/>
        <p:txBody>
          <a:bodyPr/>
          <a:lstStyle/>
          <a:p>
            <a:endParaRPr lang="nb-NO">
              <a:solidFill>
                <a:prstClr val="black"/>
              </a:solidFill>
            </a:endParaRPr>
          </a:p>
        </p:txBody>
      </p:sp>
      <p:sp>
        <p:nvSpPr>
          <p:cNvPr id="7" name="Slide Number Placeholder 6"/>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1180308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979" y="2283614"/>
            <a:ext cx="4118656" cy="613739"/>
          </a:xfrm>
        </p:spPr>
        <p:txBody>
          <a:bodyPr anchor="b"/>
          <a:lstStyle>
            <a:lvl1pPr marL="0" indent="0">
              <a:buNone/>
              <a:defRPr sz="1788" b="1"/>
            </a:lvl1pPr>
            <a:lvl2pPr marL="338170" indent="0">
              <a:buNone/>
              <a:defRPr sz="1490" b="1"/>
            </a:lvl2pPr>
            <a:lvl3pPr marL="676341" indent="0">
              <a:buNone/>
              <a:defRPr sz="1291" b="1"/>
            </a:lvl3pPr>
            <a:lvl4pPr marL="1014511" indent="0">
              <a:buNone/>
              <a:defRPr sz="1192" b="1"/>
            </a:lvl4pPr>
            <a:lvl5pPr marL="1352683" indent="0">
              <a:buNone/>
              <a:defRPr sz="1192" b="1"/>
            </a:lvl5pPr>
            <a:lvl6pPr marL="1690852" indent="0">
              <a:buNone/>
              <a:defRPr sz="1192" b="1"/>
            </a:lvl6pPr>
            <a:lvl7pPr marL="2029023" indent="0">
              <a:buNone/>
              <a:defRPr sz="1192" b="1"/>
            </a:lvl7pPr>
            <a:lvl8pPr marL="2367194" indent="0">
              <a:buNone/>
              <a:defRPr sz="1192" b="1"/>
            </a:lvl8pPr>
            <a:lvl9pPr marL="2705364" indent="0">
              <a:buNone/>
              <a:defRPr sz="1192" b="1"/>
            </a:lvl9pPr>
          </a:lstStyle>
          <a:p>
            <a:pPr lvl="0"/>
            <a:r>
              <a:rPr lang="nb-NO"/>
              <a:t>Klikk for å redigere tekststiler i malen</a:t>
            </a:r>
          </a:p>
        </p:txBody>
      </p:sp>
      <p:sp>
        <p:nvSpPr>
          <p:cNvPr id="5" name="Text Placeholder 4"/>
          <p:cNvSpPr>
            <a:spLocks noGrp="1"/>
          </p:cNvSpPr>
          <p:nvPr>
            <p:ph type="body" sz="quarter" idx="3"/>
          </p:nvPr>
        </p:nvSpPr>
        <p:spPr>
          <a:xfrm>
            <a:off x="4718342" y="2283614"/>
            <a:ext cx="4118656" cy="613739"/>
          </a:xfrm>
        </p:spPr>
        <p:txBody>
          <a:bodyPr anchor="b"/>
          <a:lstStyle>
            <a:lvl1pPr marL="0" indent="0">
              <a:buNone/>
              <a:defRPr sz="1788" b="1"/>
            </a:lvl1pPr>
            <a:lvl2pPr marL="338170" indent="0">
              <a:buNone/>
              <a:defRPr sz="1490" b="1"/>
            </a:lvl2pPr>
            <a:lvl3pPr marL="676341" indent="0">
              <a:buNone/>
              <a:defRPr sz="1291" b="1"/>
            </a:lvl3pPr>
            <a:lvl4pPr marL="1014511" indent="0">
              <a:buNone/>
              <a:defRPr sz="1192" b="1"/>
            </a:lvl4pPr>
            <a:lvl5pPr marL="1352683" indent="0">
              <a:buNone/>
              <a:defRPr sz="1192" b="1"/>
            </a:lvl5pPr>
            <a:lvl6pPr marL="1690852" indent="0">
              <a:buNone/>
              <a:defRPr sz="1192" b="1"/>
            </a:lvl6pPr>
            <a:lvl7pPr marL="2029023" indent="0">
              <a:buNone/>
              <a:defRPr sz="1192" b="1"/>
            </a:lvl7pPr>
            <a:lvl8pPr marL="2367194" indent="0">
              <a:buNone/>
              <a:defRPr sz="1192" b="1"/>
            </a:lvl8pPr>
            <a:lvl9pPr marL="2705364" indent="0">
              <a:buNone/>
              <a:defRPr sz="1192" b="1"/>
            </a:lvl9pPr>
          </a:lstStyle>
          <a:p>
            <a:pPr lvl="0"/>
            <a:r>
              <a:rPr lang="nb-NO"/>
              <a:t>Klikk for å redigere tekststiler i malen</a:t>
            </a:r>
          </a:p>
        </p:txBody>
      </p:sp>
      <p:sp>
        <p:nvSpPr>
          <p:cNvPr id="7" name="Date Placeholder 6"/>
          <p:cNvSpPr>
            <a:spLocks noGrp="1"/>
          </p:cNvSpPr>
          <p:nvPr>
            <p:ph type="dt" sz="half" idx="10"/>
          </p:nvPr>
        </p:nvSpPr>
        <p:spPr/>
        <p:txBody>
          <a:bodyPr/>
          <a:lstStyle/>
          <a:p>
            <a:fld id="{CD4C6AC1-5CCA-48F7-A4E0-62DBFB15A2A5}" type="datetime4">
              <a:rPr lang="nb-NO" smtClean="0">
                <a:solidFill>
                  <a:prstClr val="black"/>
                </a:solidFill>
              </a:rPr>
              <a:pPr/>
              <a:t>13. oktober 2021</a:t>
            </a:fld>
            <a:endParaRPr lang="nb-NO">
              <a:solidFill>
                <a:prstClr val="black"/>
              </a:solidFill>
            </a:endParaRPr>
          </a:p>
        </p:txBody>
      </p:sp>
      <p:sp>
        <p:nvSpPr>
          <p:cNvPr id="8" name="Footer Placeholder 7"/>
          <p:cNvSpPr>
            <a:spLocks noGrp="1"/>
          </p:cNvSpPr>
          <p:nvPr>
            <p:ph type="ftr" sz="quarter" idx="11"/>
          </p:nvPr>
        </p:nvSpPr>
        <p:spPr/>
        <p:txBody>
          <a:bodyPr/>
          <a:lstStyle/>
          <a:p>
            <a:endParaRPr lang="nb-NO">
              <a:solidFill>
                <a:prstClr val="black"/>
              </a:solidFill>
            </a:endParaRPr>
          </a:p>
        </p:txBody>
      </p:sp>
      <p:sp>
        <p:nvSpPr>
          <p:cNvPr id="9" name="Slide Number Placeholder 8"/>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
        <p:nvSpPr>
          <p:cNvPr id="10" name="Tittel 9"/>
          <p:cNvSpPr>
            <a:spLocks noGrp="1"/>
          </p:cNvSpPr>
          <p:nvPr>
            <p:ph type="title"/>
          </p:nvPr>
        </p:nvSpPr>
        <p:spPr/>
        <p:txBody>
          <a:bodyPr/>
          <a:lstStyle/>
          <a:p>
            <a:r>
              <a:rPr lang="nb-NO"/>
              <a:t>Klikk for å redigere tittelstil</a:t>
            </a:r>
          </a:p>
        </p:txBody>
      </p:sp>
      <p:sp>
        <p:nvSpPr>
          <p:cNvPr id="11" name="Content Placeholder 2"/>
          <p:cNvSpPr>
            <a:spLocks noGrp="1"/>
          </p:cNvSpPr>
          <p:nvPr>
            <p:ph sz="half" idx="13"/>
          </p:nvPr>
        </p:nvSpPr>
        <p:spPr>
          <a:xfrm>
            <a:off x="321979" y="2897351"/>
            <a:ext cx="4118656" cy="1939641"/>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12" name="Content Placeholder 2"/>
          <p:cNvSpPr>
            <a:spLocks noGrp="1"/>
          </p:cNvSpPr>
          <p:nvPr>
            <p:ph sz="half" idx="14"/>
          </p:nvPr>
        </p:nvSpPr>
        <p:spPr>
          <a:xfrm>
            <a:off x="4718342" y="2897351"/>
            <a:ext cx="4118656" cy="1939641"/>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Tree>
    <p:extLst>
      <p:ext uri="{BB962C8B-B14F-4D97-AF65-F5344CB8AC3E}">
        <p14:creationId xmlns:p14="http://schemas.microsoft.com/office/powerpoint/2010/main" val="678573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Date Placeholder 2"/>
          <p:cNvSpPr>
            <a:spLocks noGrp="1"/>
          </p:cNvSpPr>
          <p:nvPr>
            <p:ph type="dt" sz="half" idx="10"/>
          </p:nvPr>
        </p:nvSpPr>
        <p:spPr/>
        <p:txBody>
          <a:bodyPr/>
          <a:lstStyle/>
          <a:p>
            <a:fld id="{B03621AB-EDF4-4B8E-9175-EE5DBDAF6E38}" type="datetime4">
              <a:rPr lang="nb-NO" smtClean="0">
                <a:solidFill>
                  <a:prstClr val="black"/>
                </a:solidFill>
              </a:rPr>
              <a:pPr/>
              <a:t>13. oktober 2021</a:t>
            </a:fld>
            <a:endParaRPr lang="nb-NO">
              <a:solidFill>
                <a:prstClr val="black"/>
              </a:solidFill>
            </a:endParaRPr>
          </a:p>
        </p:txBody>
      </p:sp>
      <p:sp>
        <p:nvSpPr>
          <p:cNvPr id="4" name="Footer Placeholder 3"/>
          <p:cNvSpPr>
            <a:spLocks noGrp="1"/>
          </p:cNvSpPr>
          <p:nvPr>
            <p:ph type="ftr" sz="quarter" idx="11"/>
          </p:nvPr>
        </p:nvSpPr>
        <p:spPr/>
        <p:txBody>
          <a:bodyPr/>
          <a:lstStyle/>
          <a:p>
            <a:endParaRPr lang="nb-NO">
              <a:solidFill>
                <a:prstClr val="black"/>
              </a:solidFill>
            </a:endParaRPr>
          </a:p>
        </p:txBody>
      </p:sp>
      <p:sp>
        <p:nvSpPr>
          <p:cNvPr id="5" name="Slide Number Placeholder 4"/>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0578997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Åpen">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F53B31-0FC5-4E73-8637-6109FB6ACC86}" type="datetime4">
              <a:rPr lang="nb-NO" smtClean="0">
                <a:solidFill>
                  <a:prstClr val="black"/>
                </a:solidFill>
              </a:rPr>
              <a:pPr/>
              <a:t>13. oktober 2021</a:t>
            </a:fld>
            <a:endParaRPr lang="nb-NO">
              <a:solidFill>
                <a:prstClr val="black"/>
              </a:solidFill>
            </a:endParaRPr>
          </a:p>
        </p:txBody>
      </p:sp>
      <p:sp>
        <p:nvSpPr>
          <p:cNvPr id="3" name="Footer Placeholder 2"/>
          <p:cNvSpPr>
            <a:spLocks noGrp="1"/>
          </p:cNvSpPr>
          <p:nvPr>
            <p:ph type="ftr" sz="quarter" idx="11"/>
          </p:nvPr>
        </p:nvSpPr>
        <p:spPr/>
        <p:txBody>
          <a:bodyPr/>
          <a:lstStyle/>
          <a:p>
            <a:endParaRPr lang="nb-NO">
              <a:solidFill>
                <a:prstClr val="black"/>
              </a:solidFill>
            </a:endParaRPr>
          </a:p>
        </p:txBody>
      </p:sp>
      <p:sp>
        <p:nvSpPr>
          <p:cNvPr id="4" name="Slide Number Placeholder 3"/>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0609730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0" y="2655183"/>
            <a:ext cx="3730785" cy="987421"/>
          </a:xfrm>
        </p:spPr>
        <p:txBody>
          <a:bodyPr>
            <a:normAutofit/>
          </a:bodyPr>
          <a:lstStyle>
            <a:lvl1pPr>
              <a:defRPr sz="3400"/>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6"/>
            <a:ext cx="3488884" cy="661455"/>
          </a:xfrm>
        </p:spPr>
        <p:txBody>
          <a:bodyPr>
            <a:normAutofit/>
          </a:bodyPr>
          <a:lstStyle>
            <a:lvl1pPr marL="0" indent="0">
              <a:buNone/>
              <a:defRPr sz="1100"/>
            </a:lvl1pPr>
          </a:lstStyle>
          <a:p>
            <a:pPr lvl="0"/>
            <a:r>
              <a:rPr lang="nb-NO"/>
              <a:t>Klikk for å redigere tekststiler i malen</a:t>
            </a:r>
          </a:p>
        </p:txBody>
      </p:sp>
      <p:sp>
        <p:nvSpPr>
          <p:cNvPr id="10" name="TekstSylinder 9"/>
          <p:cNvSpPr txBox="1"/>
          <p:nvPr userDrawn="1"/>
        </p:nvSpPr>
        <p:spPr>
          <a:xfrm>
            <a:off x="321793" y="4688140"/>
            <a:ext cx="2045311" cy="206307"/>
          </a:xfrm>
          <a:prstGeom prst="rect">
            <a:avLst/>
          </a:prstGeom>
          <a:noFill/>
        </p:spPr>
        <p:txBody>
          <a:bodyPr wrap="square" lIns="34054" tIns="17027" rIns="34054" bIns="17027" rtlCol="0">
            <a:spAutoFit/>
          </a:bodyPr>
          <a:lstStyle/>
          <a:p>
            <a:r>
              <a:rPr lang="nb-NO" sz="1100" b="1"/>
              <a:t>Skatteetaten.no</a:t>
            </a:r>
          </a:p>
        </p:txBody>
      </p:sp>
      <p:sp>
        <p:nvSpPr>
          <p:cNvPr id="8" name="Rektangel 7"/>
          <p:cNvSpPr/>
          <p:nvPr userDrawn="1"/>
        </p:nvSpPr>
        <p:spPr>
          <a:xfrm>
            <a:off x="4305136" y="321841"/>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1755652" cy="621793"/>
          </a:xfrm>
          <a:prstGeom prst="rect">
            <a:avLst/>
          </a:prstGeom>
        </p:spPr>
      </p:pic>
    </p:spTree>
    <p:extLst>
      <p:ext uri="{BB962C8B-B14F-4D97-AF65-F5344CB8AC3E}">
        <p14:creationId xmlns:p14="http://schemas.microsoft.com/office/powerpoint/2010/main" val="41131092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143199" y="836056"/>
            <a:ext cx="6859191" cy="1778541"/>
          </a:xfrm>
        </p:spPr>
        <p:txBody>
          <a:bodyPr anchor="b"/>
          <a:lstStyle>
            <a:lvl1pPr algn="ctr">
              <a:defRPr sz="4469"/>
            </a:lvl1pPr>
          </a:lstStyle>
          <a:p>
            <a:r>
              <a:rPr lang="nb-NO"/>
              <a:t>Klikk for å redigere tittelstil</a:t>
            </a:r>
          </a:p>
        </p:txBody>
      </p:sp>
      <p:sp>
        <p:nvSpPr>
          <p:cNvPr id="3" name="Undertittel 2"/>
          <p:cNvSpPr>
            <a:spLocks noGrp="1"/>
          </p:cNvSpPr>
          <p:nvPr>
            <p:ph type="subTitle" idx="1"/>
          </p:nvPr>
        </p:nvSpPr>
        <p:spPr>
          <a:xfrm>
            <a:off x="1143199" y="2683185"/>
            <a:ext cx="6859191" cy="1233389"/>
          </a:xfrm>
        </p:spPr>
        <p:txBody>
          <a:bodyPr/>
          <a:lstStyle>
            <a:lvl1pPr marL="0" indent="0" algn="ctr">
              <a:buNone/>
              <a:defRPr sz="1788"/>
            </a:lvl1pPr>
            <a:lvl2pPr marL="340568" indent="0" algn="ctr">
              <a:buNone/>
              <a:defRPr sz="1490"/>
            </a:lvl2pPr>
            <a:lvl3pPr marL="681137" indent="0" algn="ctr">
              <a:buNone/>
              <a:defRPr sz="1341"/>
            </a:lvl3pPr>
            <a:lvl4pPr marL="1021705" indent="0" algn="ctr">
              <a:buNone/>
              <a:defRPr sz="1192"/>
            </a:lvl4pPr>
            <a:lvl5pPr marL="1362273" indent="0" algn="ctr">
              <a:buNone/>
              <a:defRPr sz="1192"/>
            </a:lvl5pPr>
            <a:lvl6pPr marL="1702841" indent="0" algn="ctr">
              <a:buNone/>
              <a:defRPr sz="1192"/>
            </a:lvl6pPr>
            <a:lvl7pPr marL="2043410" indent="0" algn="ctr">
              <a:buNone/>
              <a:defRPr sz="1192"/>
            </a:lvl7pPr>
            <a:lvl8pPr marL="2383978" indent="0" algn="ctr">
              <a:buNone/>
              <a:defRPr sz="1192"/>
            </a:lvl8pPr>
            <a:lvl9pPr marL="2724546" indent="0" algn="ctr">
              <a:buNone/>
              <a:defRPr sz="1192"/>
            </a:lvl9pPr>
          </a:lstStyle>
          <a:p>
            <a:r>
              <a:rPr lang="nb-NO"/>
              <a:t>Klikk for å redigere undertittelstil i malen</a:t>
            </a:r>
          </a:p>
        </p:txBody>
      </p:sp>
      <p:sp>
        <p:nvSpPr>
          <p:cNvPr id="4" name="Plassholder for dato 3"/>
          <p:cNvSpPr>
            <a:spLocks noGrp="1"/>
          </p:cNvSpPr>
          <p:nvPr>
            <p:ph type="dt" sz="half" idx="10"/>
          </p:nvPr>
        </p:nvSpPr>
        <p:spPr/>
        <p:txBody>
          <a:bodyPr/>
          <a:lstStyle/>
          <a:p>
            <a:fld id="{03C899A0-9405-4D6E-A312-0C12ECFB2396}" type="datetimeFigureOut">
              <a:rPr lang="nb-NO" smtClean="0"/>
              <a:t>13.10.2021</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073484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03C899A0-9405-4D6E-A312-0C12ECFB2396}" type="datetimeFigureOut">
              <a:rPr lang="nb-NO" smtClean="0"/>
              <a:t>13.10.2021</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2740302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623996" y="1273597"/>
            <a:ext cx="7888070" cy="2125025"/>
          </a:xfrm>
        </p:spPr>
        <p:txBody>
          <a:bodyPr anchor="b"/>
          <a:lstStyle>
            <a:lvl1pPr>
              <a:defRPr sz="4469"/>
            </a:lvl1pPr>
          </a:lstStyle>
          <a:p>
            <a:r>
              <a:rPr lang="nb-NO"/>
              <a:t>Klikk for å redigere tittelstil</a:t>
            </a:r>
          </a:p>
        </p:txBody>
      </p:sp>
      <p:sp>
        <p:nvSpPr>
          <p:cNvPr id="3" name="Plassholder for tekst 2"/>
          <p:cNvSpPr>
            <a:spLocks noGrp="1"/>
          </p:cNvSpPr>
          <p:nvPr>
            <p:ph type="body" idx="1"/>
          </p:nvPr>
        </p:nvSpPr>
        <p:spPr>
          <a:xfrm>
            <a:off x="623996" y="3418726"/>
            <a:ext cx="7888070" cy="1117500"/>
          </a:xfrm>
        </p:spPr>
        <p:txBody>
          <a:bodyPr/>
          <a:lstStyle>
            <a:lvl1pPr marL="0" indent="0">
              <a:buNone/>
              <a:defRPr sz="1788">
                <a:solidFill>
                  <a:schemeClr val="tx1">
                    <a:tint val="75000"/>
                  </a:schemeClr>
                </a:solidFill>
              </a:defRPr>
            </a:lvl1pPr>
            <a:lvl2pPr marL="340568" indent="0">
              <a:buNone/>
              <a:defRPr sz="1490">
                <a:solidFill>
                  <a:schemeClr val="tx1">
                    <a:tint val="75000"/>
                  </a:schemeClr>
                </a:solidFill>
              </a:defRPr>
            </a:lvl2pPr>
            <a:lvl3pPr marL="681137" indent="0">
              <a:buNone/>
              <a:defRPr sz="1341">
                <a:solidFill>
                  <a:schemeClr val="tx1">
                    <a:tint val="75000"/>
                  </a:schemeClr>
                </a:solidFill>
              </a:defRPr>
            </a:lvl3pPr>
            <a:lvl4pPr marL="1021705" indent="0">
              <a:buNone/>
              <a:defRPr sz="1192">
                <a:solidFill>
                  <a:schemeClr val="tx1">
                    <a:tint val="75000"/>
                  </a:schemeClr>
                </a:solidFill>
              </a:defRPr>
            </a:lvl4pPr>
            <a:lvl5pPr marL="1362273" indent="0">
              <a:buNone/>
              <a:defRPr sz="1192">
                <a:solidFill>
                  <a:schemeClr val="tx1">
                    <a:tint val="75000"/>
                  </a:schemeClr>
                </a:solidFill>
              </a:defRPr>
            </a:lvl5pPr>
            <a:lvl6pPr marL="1702841" indent="0">
              <a:buNone/>
              <a:defRPr sz="1192">
                <a:solidFill>
                  <a:schemeClr val="tx1">
                    <a:tint val="75000"/>
                  </a:schemeClr>
                </a:solidFill>
              </a:defRPr>
            </a:lvl6pPr>
            <a:lvl7pPr marL="2043410" indent="0">
              <a:buNone/>
              <a:defRPr sz="1192">
                <a:solidFill>
                  <a:schemeClr val="tx1">
                    <a:tint val="75000"/>
                  </a:schemeClr>
                </a:solidFill>
              </a:defRPr>
            </a:lvl7pPr>
            <a:lvl8pPr marL="2383978" indent="0">
              <a:buNone/>
              <a:defRPr sz="1192">
                <a:solidFill>
                  <a:schemeClr val="tx1">
                    <a:tint val="75000"/>
                  </a:schemeClr>
                </a:solidFill>
              </a:defRPr>
            </a:lvl8pPr>
            <a:lvl9pPr marL="2724546" indent="0">
              <a:buNone/>
              <a:defRPr sz="1192">
                <a:solidFill>
                  <a:schemeClr val="tx1">
                    <a:tint val="75000"/>
                  </a:schemeClr>
                </a:solidFill>
              </a:defRPr>
            </a:lvl9pPr>
          </a:lstStyle>
          <a:p>
            <a:pPr lvl="0"/>
            <a:r>
              <a:rPr lang="nb-NO"/>
              <a:t>Rediger tekststiler i malen</a:t>
            </a:r>
          </a:p>
        </p:txBody>
      </p:sp>
      <p:sp>
        <p:nvSpPr>
          <p:cNvPr id="4" name="Plassholder for dato 3"/>
          <p:cNvSpPr>
            <a:spLocks noGrp="1"/>
          </p:cNvSpPr>
          <p:nvPr>
            <p:ph type="dt" sz="half" idx="10"/>
          </p:nvPr>
        </p:nvSpPr>
        <p:spPr/>
        <p:txBody>
          <a:bodyPr/>
          <a:lstStyle/>
          <a:p>
            <a:fld id="{03C899A0-9405-4D6E-A312-0C12ECFB2396}" type="datetimeFigureOut">
              <a:rPr lang="nb-NO" smtClean="0"/>
              <a:t>13.10.2021</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296645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28759" y="1359922"/>
            <a:ext cx="3886875" cy="324134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29954" y="1359922"/>
            <a:ext cx="3886875" cy="324134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03C899A0-9405-4D6E-A312-0C12ECFB2396}" type="datetimeFigureOut">
              <a:rPr lang="nb-NO" smtClean="0"/>
              <a:t>13.10.2021</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4037433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29950" y="271985"/>
            <a:ext cx="7888070" cy="987422"/>
          </a:xfrm>
        </p:spPr>
        <p:txBody>
          <a:bodyPr/>
          <a:lstStyle/>
          <a:p>
            <a:r>
              <a:rPr lang="nb-NO"/>
              <a:t>Klikk for å redigere tittelstil</a:t>
            </a:r>
          </a:p>
        </p:txBody>
      </p:sp>
      <p:sp>
        <p:nvSpPr>
          <p:cNvPr id="3" name="Plassholder for tekst 2"/>
          <p:cNvSpPr>
            <a:spLocks noGrp="1"/>
          </p:cNvSpPr>
          <p:nvPr>
            <p:ph type="body" idx="1"/>
          </p:nvPr>
        </p:nvSpPr>
        <p:spPr>
          <a:xfrm>
            <a:off x="629951" y="1252311"/>
            <a:ext cx="3869012" cy="613738"/>
          </a:xfrm>
        </p:spPr>
        <p:txBody>
          <a:bodyPr anchor="b"/>
          <a:lstStyle>
            <a:lvl1pPr marL="0" indent="0">
              <a:buNone/>
              <a:defRPr sz="1788" b="1"/>
            </a:lvl1pPr>
            <a:lvl2pPr marL="340568" indent="0">
              <a:buNone/>
              <a:defRPr sz="1490" b="1"/>
            </a:lvl2pPr>
            <a:lvl3pPr marL="681137" indent="0">
              <a:buNone/>
              <a:defRPr sz="1341" b="1"/>
            </a:lvl3pPr>
            <a:lvl4pPr marL="1021705" indent="0">
              <a:buNone/>
              <a:defRPr sz="1192" b="1"/>
            </a:lvl4pPr>
            <a:lvl5pPr marL="1362273" indent="0">
              <a:buNone/>
              <a:defRPr sz="1192" b="1"/>
            </a:lvl5pPr>
            <a:lvl6pPr marL="1702841" indent="0">
              <a:buNone/>
              <a:defRPr sz="1192" b="1"/>
            </a:lvl6pPr>
            <a:lvl7pPr marL="2043410" indent="0">
              <a:buNone/>
              <a:defRPr sz="1192" b="1"/>
            </a:lvl7pPr>
            <a:lvl8pPr marL="2383978" indent="0">
              <a:buNone/>
              <a:defRPr sz="1192" b="1"/>
            </a:lvl8pPr>
            <a:lvl9pPr marL="2724546" indent="0">
              <a:buNone/>
              <a:defRPr sz="1192" b="1"/>
            </a:lvl9pPr>
          </a:lstStyle>
          <a:p>
            <a:pPr lvl="0"/>
            <a:r>
              <a:rPr lang="nb-NO"/>
              <a:t>Rediger tekststiler i malen</a:t>
            </a:r>
          </a:p>
        </p:txBody>
      </p:sp>
      <p:sp>
        <p:nvSpPr>
          <p:cNvPr id="4" name="Plassholder for innhold 3"/>
          <p:cNvSpPr>
            <a:spLocks noGrp="1"/>
          </p:cNvSpPr>
          <p:nvPr>
            <p:ph sz="half" idx="2"/>
          </p:nvPr>
        </p:nvSpPr>
        <p:spPr>
          <a:xfrm>
            <a:off x="629951" y="1866049"/>
            <a:ext cx="3869012" cy="2744677"/>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4629954" y="1252311"/>
            <a:ext cx="3888066" cy="613738"/>
          </a:xfrm>
        </p:spPr>
        <p:txBody>
          <a:bodyPr anchor="b"/>
          <a:lstStyle>
            <a:lvl1pPr marL="0" indent="0">
              <a:buNone/>
              <a:defRPr sz="1788" b="1"/>
            </a:lvl1pPr>
            <a:lvl2pPr marL="340568" indent="0">
              <a:buNone/>
              <a:defRPr sz="1490" b="1"/>
            </a:lvl2pPr>
            <a:lvl3pPr marL="681137" indent="0">
              <a:buNone/>
              <a:defRPr sz="1341" b="1"/>
            </a:lvl3pPr>
            <a:lvl4pPr marL="1021705" indent="0">
              <a:buNone/>
              <a:defRPr sz="1192" b="1"/>
            </a:lvl4pPr>
            <a:lvl5pPr marL="1362273" indent="0">
              <a:buNone/>
              <a:defRPr sz="1192" b="1"/>
            </a:lvl5pPr>
            <a:lvl6pPr marL="1702841" indent="0">
              <a:buNone/>
              <a:defRPr sz="1192" b="1"/>
            </a:lvl6pPr>
            <a:lvl7pPr marL="2043410" indent="0">
              <a:buNone/>
              <a:defRPr sz="1192" b="1"/>
            </a:lvl7pPr>
            <a:lvl8pPr marL="2383978" indent="0">
              <a:buNone/>
              <a:defRPr sz="1192" b="1"/>
            </a:lvl8pPr>
            <a:lvl9pPr marL="2724546" indent="0">
              <a:buNone/>
              <a:defRPr sz="1192" b="1"/>
            </a:lvl9pPr>
          </a:lstStyle>
          <a:p>
            <a:pPr lvl="0"/>
            <a:r>
              <a:rPr lang="nb-NO"/>
              <a:t>Rediger tekststiler i malen</a:t>
            </a:r>
          </a:p>
        </p:txBody>
      </p:sp>
      <p:sp>
        <p:nvSpPr>
          <p:cNvPr id="6" name="Plassholder for innhold 5"/>
          <p:cNvSpPr>
            <a:spLocks noGrp="1"/>
          </p:cNvSpPr>
          <p:nvPr>
            <p:ph sz="quarter" idx="4"/>
          </p:nvPr>
        </p:nvSpPr>
        <p:spPr>
          <a:xfrm>
            <a:off x="4629954" y="1866049"/>
            <a:ext cx="3888066" cy="2744677"/>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p:cNvSpPr>
            <a:spLocks noGrp="1"/>
          </p:cNvSpPr>
          <p:nvPr>
            <p:ph type="dt" sz="half" idx="10"/>
          </p:nvPr>
        </p:nvSpPr>
        <p:spPr/>
        <p:txBody>
          <a:bodyPr/>
          <a:lstStyle/>
          <a:p>
            <a:fld id="{03C899A0-9405-4D6E-A312-0C12ECFB2396}" type="datetimeFigureOut">
              <a:rPr lang="nb-NO" smtClean="0"/>
              <a:t>13.10.2021</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04738055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03C899A0-9405-4D6E-A312-0C12ECFB2396}" type="datetimeFigureOut">
              <a:rPr lang="nb-NO" smtClean="0"/>
              <a:t>13.10.2021</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7834084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03C899A0-9405-4D6E-A312-0C12ECFB2396}" type="datetimeFigureOut">
              <a:rPr lang="nb-NO" smtClean="0"/>
              <a:t>13.10.2021</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259625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29951" y="340572"/>
            <a:ext cx="2949690" cy="1192001"/>
          </a:xfrm>
        </p:spPr>
        <p:txBody>
          <a:bodyPr anchor="b"/>
          <a:lstStyle>
            <a:lvl1pPr>
              <a:defRPr sz="2384"/>
            </a:lvl1pPr>
          </a:lstStyle>
          <a:p>
            <a:r>
              <a:rPr lang="nb-NO"/>
              <a:t>Klikk for å redigere tittelstil</a:t>
            </a:r>
          </a:p>
        </p:txBody>
      </p:sp>
      <p:sp>
        <p:nvSpPr>
          <p:cNvPr id="3" name="Plassholder for innhold 2"/>
          <p:cNvSpPr>
            <a:spLocks noGrp="1"/>
          </p:cNvSpPr>
          <p:nvPr>
            <p:ph idx="1"/>
          </p:nvPr>
        </p:nvSpPr>
        <p:spPr>
          <a:xfrm>
            <a:off x="3888066" y="735541"/>
            <a:ext cx="4629954" cy="3630399"/>
          </a:xfrm>
        </p:spPr>
        <p:txBody>
          <a:bodyPr/>
          <a:lstStyle>
            <a:lvl1pPr>
              <a:defRPr sz="2384"/>
            </a:lvl1pPr>
            <a:lvl2pPr>
              <a:defRPr sz="2086"/>
            </a:lvl2pPr>
            <a:lvl3pPr>
              <a:defRPr sz="1788"/>
            </a:lvl3pPr>
            <a:lvl4pPr>
              <a:defRPr sz="1490"/>
            </a:lvl4pPr>
            <a:lvl5pPr>
              <a:defRPr sz="1490"/>
            </a:lvl5pPr>
            <a:lvl6pPr>
              <a:defRPr sz="1490"/>
            </a:lvl6pPr>
            <a:lvl7pPr>
              <a:defRPr sz="1490"/>
            </a:lvl7pPr>
            <a:lvl8pPr>
              <a:defRPr sz="1490"/>
            </a:lvl8pPr>
            <a:lvl9pPr>
              <a:defRPr sz="1490"/>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29951" y="1532573"/>
            <a:ext cx="2949690" cy="2839280"/>
          </a:xfrm>
        </p:spPr>
        <p:txBody>
          <a:bodyPr/>
          <a:lstStyle>
            <a:lvl1pPr marL="0" indent="0">
              <a:buNone/>
              <a:defRPr sz="1192"/>
            </a:lvl1pPr>
            <a:lvl2pPr marL="340568" indent="0">
              <a:buNone/>
              <a:defRPr sz="1043"/>
            </a:lvl2pPr>
            <a:lvl3pPr marL="681137" indent="0">
              <a:buNone/>
              <a:defRPr sz="894"/>
            </a:lvl3pPr>
            <a:lvl4pPr marL="1021705" indent="0">
              <a:buNone/>
              <a:defRPr sz="745"/>
            </a:lvl4pPr>
            <a:lvl5pPr marL="1362273" indent="0">
              <a:buNone/>
              <a:defRPr sz="745"/>
            </a:lvl5pPr>
            <a:lvl6pPr marL="1702841" indent="0">
              <a:buNone/>
              <a:defRPr sz="745"/>
            </a:lvl6pPr>
            <a:lvl7pPr marL="2043410" indent="0">
              <a:buNone/>
              <a:defRPr sz="745"/>
            </a:lvl7pPr>
            <a:lvl8pPr marL="2383978" indent="0">
              <a:buNone/>
              <a:defRPr sz="745"/>
            </a:lvl8pPr>
            <a:lvl9pPr marL="2724546" indent="0">
              <a:buNone/>
              <a:defRPr sz="745"/>
            </a:lvl9pPr>
          </a:lstStyle>
          <a:p>
            <a:pPr lvl="0"/>
            <a:r>
              <a:rPr lang="nb-NO"/>
              <a:t>Rediger tekststiler i malen</a:t>
            </a:r>
          </a:p>
        </p:txBody>
      </p:sp>
      <p:sp>
        <p:nvSpPr>
          <p:cNvPr id="5" name="Plassholder for dato 4"/>
          <p:cNvSpPr>
            <a:spLocks noGrp="1"/>
          </p:cNvSpPr>
          <p:nvPr>
            <p:ph type="dt" sz="half" idx="10"/>
          </p:nvPr>
        </p:nvSpPr>
        <p:spPr/>
        <p:txBody>
          <a:bodyPr/>
          <a:lstStyle/>
          <a:p>
            <a:fld id="{03C899A0-9405-4D6E-A312-0C12ECFB2396}" type="datetimeFigureOut">
              <a:rPr lang="nb-NO" smtClean="0"/>
              <a:t>13.10.2021</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184458782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29951" y="340572"/>
            <a:ext cx="2949690" cy="1192001"/>
          </a:xfrm>
        </p:spPr>
        <p:txBody>
          <a:bodyPr anchor="b"/>
          <a:lstStyle>
            <a:lvl1pPr>
              <a:defRPr sz="2384"/>
            </a:lvl1pPr>
          </a:lstStyle>
          <a:p>
            <a:r>
              <a:rPr lang="nb-NO"/>
              <a:t>Klikk for å redigere tittelstil</a:t>
            </a:r>
          </a:p>
        </p:txBody>
      </p:sp>
      <p:sp>
        <p:nvSpPr>
          <p:cNvPr id="3" name="Plassholder for bilde 2"/>
          <p:cNvSpPr>
            <a:spLocks noGrp="1"/>
          </p:cNvSpPr>
          <p:nvPr>
            <p:ph type="pic" idx="1"/>
          </p:nvPr>
        </p:nvSpPr>
        <p:spPr>
          <a:xfrm>
            <a:off x="3888066" y="735541"/>
            <a:ext cx="4629954" cy="3630399"/>
          </a:xfrm>
        </p:spPr>
        <p:txBody>
          <a:bodyPr/>
          <a:lstStyle>
            <a:lvl1pPr marL="0" indent="0">
              <a:buNone/>
              <a:defRPr sz="2384"/>
            </a:lvl1pPr>
            <a:lvl2pPr marL="340568" indent="0">
              <a:buNone/>
              <a:defRPr sz="2086"/>
            </a:lvl2pPr>
            <a:lvl3pPr marL="681137" indent="0">
              <a:buNone/>
              <a:defRPr sz="1788"/>
            </a:lvl3pPr>
            <a:lvl4pPr marL="1021705" indent="0">
              <a:buNone/>
              <a:defRPr sz="1490"/>
            </a:lvl4pPr>
            <a:lvl5pPr marL="1362273" indent="0">
              <a:buNone/>
              <a:defRPr sz="1490"/>
            </a:lvl5pPr>
            <a:lvl6pPr marL="1702841" indent="0">
              <a:buNone/>
              <a:defRPr sz="1490"/>
            </a:lvl6pPr>
            <a:lvl7pPr marL="2043410" indent="0">
              <a:buNone/>
              <a:defRPr sz="1490"/>
            </a:lvl7pPr>
            <a:lvl8pPr marL="2383978" indent="0">
              <a:buNone/>
              <a:defRPr sz="1490"/>
            </a:lvl8pPr>
            <a:lvl9pPr marL="2724546" indent="0">
              <a:buNone/>
              <a:defRPr sz="1490"/>
            </a:lvl9pPr>
          </a:lstStyle>
          <a:p>
            <a:endParaRPr lang="nb-NO"/>
          </a:p>
        </p:txBody>
      </p:sp>
      <p:sp>
        <p:nvSpPr>
          <p:cNvPr id="4" name="Plassholder for tekst 3"/>
          <p:cNvSpPr>
            <a:spLocks noGrp="1"/>
          </p:cNvSpPr>
          <p:nvPr>
            <p:ph type="body" sz="half" idx="2"/>
          </p:nvPr>
        </p:nvSpPr>
        <p:spPr>
          <a:xfrm>
            <a:off x="629951" y="1532573"/>
            <a:ext cx="2949690" cy="2839280"/>
          </a:xfrm>
        </p:spPr>
        <p:txBody>
          <a:bodyPr/>
          <a:lstStyle>
            <a:lvl1pPr marL="0" indent="0">
              <a:buNone/>
              <a:defRPr sz="1192"/>
            </a:lvl1pPr>
            <a:lvl2pPr marL="340568" indent="0">
              <a:buNone/>
              <a:defRPr sz="1043"/>
            </a:lvl2pPr>
            <a:lvl3pPr marL="681137" indent="0">
              <a:buNone/>
              <a:defRPr sz="894"/>
            </a:lvl3pPr>
            <a:lvl4pPr marL="1021705" indent="0">
              <a:buNone/>
              <a:defRPr sz="745"/>
            </a:lvl4pPr>
            <a:lvl5pPr marL="1362273" indent="0">
              <a:buNone/>
              <a:defRPr sz="745"/>
            </a:lvl5pPr>
            <a:lvl6pPr marL="1702841" indent="0">
              <a:buNone/>
              <a:defRPr sz="745"/>
            </a:lvl6pPr>
            <a:lvl7pPr marL="2043410" indent="0">
              <a:buNone/>
              <a:defRPr sz="745"/>
            </a:lvl7pPr>
            <a:lvl8pPr marL="2383978" indent="0">
              <a:buNone/>
              <a:defRPr sz="745"/>
            </a:lvl8pPr>
            <a:lvl9pPr marL="2724546" indent="0">
              <a:buNone/>
              <a:defRPr sz="745"/>
            </a:lvl9pPr>
          </a:lstStyle>
          <a:p>
            <a:pPr lvl="0"/>
            <a:r>
              <a:rPr lang="nb-NO"/>
              <a:t>Rediger tekststiler i malen</a:t>
            </a:r>
          </a:p>
        </p:txBody>
      </p:sp>
      <p:sp>
        <p:nvSpPr>
          <p:cNvPr id="5" name="Plassholder for dato 4"/>
          <p:cNvSpPr>
            <a:spLocks noGrp="1"/>
          </p:cNvSpPr>
          <p:nvPr>
            <p:ph type="dt" sz="half" idx="10"/>
          </p:nvPr>
        </p:nvSpPr>
        <p:spPr/>
        <p:txBody>
          <a:bodyPr/>
          <a:lstStyle/>
          <a:p>
            <a:fld id="{03C899A0-9405-4D6E-A312-0C12ECFB2396}" type="datetimeFigureOut">
              <a:rPr lang="nb-NO" smtClean="0"/>
              <a:t>13.10.2021</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3347470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03C899A0-9405-4D6E-A312-0C12ECFB2396}" type="datetimeFigureOut">
              <a:rPr lang="nb-NO" smtClean="0"/>
              <a:t>13.10.2021</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804345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Avslutning">
    <p:spTree>
      <p:nvGrpSpPr>
        <p:cNvPr id="1" name=""/>
        <p:cNvGrpSpPr/>
        <p:nvPr/>
      </p:nvGrpSpPr>
      <p:grpSpPr>
        <a:xfrm>
          <a:off x="0" y="0"/>
          <a:ext cx="0" cy="0"/>
          <a:chOff x="0" y="0"/>
          <a:chExt cx="0" cy="0"/>
        </a:xfrm>
      </p:grpSpPr>
      <p:sp>
        <p:nvSpPr>
          <p:cNvPr id="2" name="Rektangel 1"/>
          <p:cNvSpPr/>
          <p:nvPr userDrawn="1"/>
        </p:nvSpPr>
        <p:spPr>
          <a:xfrm>
            <a:off x="0" y="0"/>
            <a:ext cx="9145588" cy="5108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3" name="Bil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4355" y="1621676"/>
            <a:ext cx="2736878" cy="1865222"/>
          </a:xfrm>
          <a:prstGeom prst="rect">
            <a:avLst/>
          </a:prstGeom>
        </p:spPr>
      </p:pic>
    </p:spTree>
    <p:extLst>
      <p:ext uri="{BB962C8B-B14F-4D97-AF65-F5344CB8AC3E}">
        <p14:creationId xmlns:p14="http://schemas.microsoft.com/office/powerpoint/2010/main" val="29216739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544812" y="271984"/>
            <a:ext cx="1972017" cy="4329281"/>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28759" y="271984"/>
            <a:ext cx="5801732" cy="4329281"/>
          </a:xfrm>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03C899A0-9405-4D6E-A312-0C12ECFB2396}" type="datetimeFigureOut">
              <a:rPr lang="nb-NO" smtClean="0"/>
              <a:t>13.10.2021</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9957967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10" Type="http://schemas.openxmlformats.org/officeDocument/2006/relationships/image" Target="../media/image1.jpeg"/><Relationship Id="rId4" Type="http://schemas.openxmlformats.org/officeDocument/2006/relationships/slideLayout" Target="../slideLayouts/slideLayout1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6.xml"/><Relationship Id="rId7"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oleObject" Target="../embeddings/oleObject1.bin"/><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ags" Target="../tags/tag1.xml"/><Relationship Id="rId2" Type="http://schemas.openxmlformats.org/officeDocument/2006/relationships/slideLayout" Target="../slideLayouts/slideLayout31.xml"/><Relationship Id="rId16" Type="http://schemas.openxmlformats.org/officeDocument/2006/relationships/vmlDrawing" Target="../drawings/vmlDrawing1.vml"/><Relationship Id="rId20" Type="http://schemas.openxmlformats.org/officeDocument/2006/relationships/image" Target="../media/image11.jpe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4.xml"/><Relationship Id="rId10" Type="http://schemas.openxmlformats.org/officeDocument/2006/relationships/slideLayout" Target="../slideLayouts/slideLayout39.xml"/><Relationship Id="rId19" Type="http://schemas.openxmlformats.org/officeDocument/2006/relationships/image" Target="../media/image10.em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11.jpeg"/><Relationship Id="rId4" Type="http://schemas.openxmlformats.org/officeDocument/2006/relationships/slideLayout" Target="../slideLayouts/slideLayout4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 Id="rId9"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image" Target="../media/image11.jpeg"/><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5" Type="http://schemas.openxmlformats.org/officeDocument/2006/relationships/slideLayout" Target="../slideLayouts/slideLayout76.xml"/><Relationship Id="rId10" Type="http://schemas.openxmlformats.org/officeDocument/2006/relationships/image" Target="../media/image11.jpeg"/><Relationship Id="rId4" Type="http://schemas.openxmlformats.org/officeDocument/2006/relationships/slideLayout" Target="../slideLayouts/slideLayout75.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theme" Target="../theme/theme9.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036" y="1263758"/>
            <a:ext cx="8365168" cy="512448"/>
          </a:xfrm>
          <a:prstGeom prst="rect">
            <a:avLst/>
          </a:prstGeom>
        </p:spPr>
        <p:txBody>
          <a:bodyPr vert="horz" wrap="square"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288036" y="1980248"/>
            <a:ext cx="8371046" cy="2772346"/>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3" y="268201"/>
            <a:ext cx="670791" cy="268200"/>
          </a:xfrm>
          <a:prstGeom prst="rect">
            <a:avLst/>
          </a:prstGeom>
        </p:spPr>
        <p:txBody>
          <a:bodyPr vert="horz" lIns="0" tIns="0" rIns="0" bIns="0" rtlCol="0" anchor="t" anchorCtr="0">
            <a:normAutofit/>
          </a:bodyPr>
          <a:lstStyle>
            <a:lvl1pPr algn="l">
              <a:defRPr sz="700" b="1">
                <a:solidFill>
                  <a:schemeClr val="tx1"/>
                </a:solidFill>
              </a:defRPr>
            </a:lvl1pPr>
          </a:lstStyle>
          <a:p>
            <a:fld id="{205AAB6B-C8DC-467C-B8C5-F1ADB02BF221}" type="datetime1">
              <a:rPr lang="nb-NO" smtClean="0"/>
              <a:t>13.10.2021</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700"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700" b="1">
                <a:solidFill>
                  <a:schemeClr val="tx1"/>
                </a:solidFill>
              </a:defRPr>
            </a:lvl1pPr>
          </a:lstStyle>
          <a:p>
            <a:fld id="{D8865200-363A-4A27-BFE2-9D2920C8E885}" type="slidenum">
              <a:rPr lang="nb-NO" smtClean="0"/>
              <a:pPr/>
              <a:t>‹#›</a:t>
            </a:fld>
            <a:endParaRPr lang="nb-NO"/>
          </a:p>
        </p:txBody>
      </p:sp>
      <p:grpSp>
        <p:nvGrpSpPr>
          <p:cNvPr id="156" name="prosses2" hidden="1"/>
          <p:cNvGrpSpPr>
            <a:grpSpLocks noChangeAspect="1"/>
          </p:cNvGrpSpPr>
          <p:nvPr userDrawn="1"/>
        </p:nvGrpSpPr>
        <p:grpSpPr bwMode="auto">
          <a:xfrm>
            <a:off x="3326607" y="1307522"/>
            <a:ext cx="2492375" cy="2493531"/>
            <a:chOff x="1310" y="590"/>
            <a:chExt cx="3140" cy="3140"/>
          </a:xfrm>
        </p:grpSpPr>
        <p:sp>
          <p:nvSpPr>
            <p:cNvPr id="294" name="Freeform 63"/>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5" name="Freeform 64"/>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6" name="Freeform 65"/>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7" name="Freeform 66"/>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8" name="Freeform 67"/>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9" name="Rectangle 68"/>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300" name="Rectangle 69"/>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301" name="Rectangle 70"/>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4</a:t>
              </a:r>
              <a:endParaRPr lang="en-US" altLang="en-US" sz="900">
                <a:latin typeface="Arial" panose="020B0604020202020204" pitchFamily="34" charset="0"/>
              </a:endParaRPr>
            </a:p>
          </p:txBody>
        </p:sp>
        <p:sp>
          <p:nvSpPr>
            <p:cNvPr id="302" name="Rectangle 71"/>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grpSp>
      <p:grpSp>
        <p:nvGrpSpPr>
          <p:cNvPr id="157" name="prosses3" hidden="1"/>
          <p:cNvGrpSpPr>
            <a:grpSpLocks noChangeAspect="1"/>
          </p:cNvGrpSpPr>
          <p:nvPr userDrawn="1"/>
        </p:nvGrpSpPr>
        <p:grpSpPr bwMode="auto">
          <a:xfrm>
            <a:off x="3176985" y="1194760"/>
            <a:ext cx="2791618" cy="2719054"/>
            <a:chOff x="1125" y="481"/>
            <a:chExt cx="3517" cy="3424"/>
          </a:xfrm>
        </p:grpSpPr>
        <p:sp>
          <p:nvSpPr>
            <p:cNvPr id="285" name="Rectangle 75"/>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286" name="Rectangle 76"/>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87" name="Rectangle 78"/>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288" name="Rectangle 79"/>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89" name="Rectangle 81"/>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sp>
          <p:nvSpPr>
            <p:cNvPr id="290" name="Rectangle 82"/>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91" name="Freeform 84"/>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2" name="Freeform 85"/>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3" name="Freeform 86"/>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58" name="prosses5" hidden="1"/>
          <p:cNvGrpSpPr>
            <a:grpSpLocks noChangeAspect="1"/>
          </p:cNvGrpSpPr>
          <p:nvPr userDrawn="1"/>
        </p:nvGrpSpPr>
        <p:grpSpPr bwMode="auto">
          <a:xfrm>
            <a:off x="2987674" y="1254317"/>
            <a:ext cx="3170240" cy="2599940"/>
            <a:chOff x="885" y="514"/>
            <a:chExt cx="3994" cy="3274"/>
          </a:xfrm>
        </p:grpSpPr>
        <p:sp>
          <p:nvSpPr>
            <p:cNvPr id="273" name="Freeform 133"/>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4" name="Freeform 134"/>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5" name="Freeform 135"/>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6" name="Freeform 136"/>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7" name="Rectangle 137"/>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278" name="Rectangle 138"/>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79" name="Rectangle 140"/>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4</a:t>
              </a:r>
              <a:endParaRPr lang="en-US" altLang="en-US" sz="900">
                <a:latin typeface="Arial" panose="020B0604020202020204" pitchFamily="34" charset="0"/>
              </a:endParaRPr>
            </a:p>
          </p:txBody>
        </p:sp>
        <p:sp>
          <p:nvSpPr>
            <p:cNvPr id="280" name="Rectangle 141"/>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81" name="Rectangle 143"/>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282" name="Rectangle 144"/>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83" name="Rectangle 146"/>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sp>
          <p:nvSpPr>
            <p:cNvPr id="284" name="Rectangle 147"/>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grpSp>
      <p:grpSp>
        <p:nvGrpSpPr>
          <p:cNvPr id="159" name="prosses6" hidden="1"/>
          <p:cNvGrpSpPr>
            <a:grpSpLocks noChangeAspect="1"/>
          </p:cNvGrpSpPr>
          <p:nvPr userDrawn="1"/>
        </p:nvGrpSpPr>
        <p:grpSpPr bwMode="auto">
          <a:xfrm>
            <a:off x="2974181" y="954934"/>
            <a:ext cx="3197226" cy="3198706"/>
            <a:chOff x="865" y="145"/>
            <a:chExt cx="4028" cy="4028"/>
          </a:xfrm>
        </p:grpSpPr>
        <p:sp>
          <p:nvSpPr>
            <p:cNvPr id="258" name="Freeform 152"/>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59" name="Freeform 153"/>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0" name="Freeform 154"/>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1" name="Freeform 155"/>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2" name="Freeform 156"/>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3" name="Rectangle 157"/>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1</a:t>
              </a:r>
              <a:endParaRPr lang="en-US" altLang="en-US" sz="900">
                <a:latin typeface="Arial" panose="020B0604020202020204" pitchFamily="34" charset="0"/>
              </a:endParaRPr>
            </a:p>
          </p:txBody>
        </p:sp>
        <p:sp>
          <p:nvSpPr>
            <p:cNvPr id="264" name="Rectangle 158"/>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5" name="Rectangle 159"/>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2</a:t>
              </a:r>
              <a:endParaRPr lang="en-US" altLang="en-US" sz="900">
                <a:latin typeface="Arial" panose="020B0604020202020204" pitchFamily="34" charset="0"/>
              </a:endParaRPr>
            </a:p>
          </p:txBody>
        </p:sp>
        <p:sp>
          <p:nvSpPr>
            <p:cNvPr id="266" name="Rectangle 160"/>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7" name="Rectangle 161"/>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3</a:t>
              </a:r>
              <a:endParaRPr lang="en-US" altLang="en-US" sz="900">
                <a:latin typeface="Arial" panose="020B0604020202020204" pitchFamily="34" charset="0"/>
              </a:endParaRPr>
            </a:p>
          </p:txBody>
        </p:sp>
        <p:sp>
          <p:nvSpPr>
            <p:cNvPr id="268" name="Rectangle 162"/>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9" name="Rectangle 163"/>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4</a:t>
              </a:r>
              <a:endParaRPr lang="en-US" altLang="en-US" sz="900">
                <a:latin typeface="Arial" panose="020B0604020202020204" pitchFamily="34" charset="0"/>
              </a:endParaRPr>
            </a:p>
          </p:txBody>
        </p:sp>
        <p:sp>
          <p:nvSpPr>
            <p:cNvPr id="270" name="Rectangle 164"/>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71" name="Rectangle 165"/>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5</a:t>
              </a:r>
              <a:endParaRPr lang="en-US" altLang="en-US" sz="900">
                <a:latin typeface="Arial" panose="020B0604020202020204" pitchFamily="34" charset="0"/>
              </a:endParaRPr>
            </a:p>
          </p:txBody>
        </p:sp>
        <p:sp>
          <p:nvSpPr>
            <p:cNvPr id="272" name="Rectangle 166"/>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grpSp>
      <p:grpSp>
        <p:nvGrpSpPr>
          <p:cNvPr id="161" name="hus" hidden="1"/>
          <p:cNvGrpSpPr>
            <a:grpSpLocks noChangeAspect="1"/>
          </p:cNvGrpSpPr>
          <p:nvPr userDrawn="1"/>
        </p:nvGrpSpPr>
        <p:grpSpPr bwMode="auto">
          <a:xfrm>
            <a:off x="3996531" y="1927728"/>
            <a:ext cx="1152526" cy="1253118"/>
            <a:chOff x="2154" y="1370"/>
            <a:chExt cx="1452" cy="1578"/>
          </a:xfrm>
        </p:grpSpPr>
        <p:sp>
          <p:nvSpPr>
            <p:cNvPr id="219" name="Freeform 189"/>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0" name="Freeform 190"/>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1" name="Freeform 191"/>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2" name="Freeform 192"/>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3" name="Freeform 193"/>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4" name="Freeform 194"/>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5" name="Freeform 195"/>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6" name="Freeform 196"/>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7" name="Freeform 197"/>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8" name="Freeform 198"/>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9" name="Freeform 199"/>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0" name="Freeform 200"/>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1" name="Freeform 201"/>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2" name="Freeform 202"/>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3" name="Freeform 203"/>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4" name="Freeform 204"/>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5" name="Freeform 205"/>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6" name="Freeform 206"/>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7" name="Freeform 207"/>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8" name="Freeform 208"/>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9" name="Freeform 209"/>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40" name="Freeform 210"/>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41" name="Freeform 211"/>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2" name="app" hidden="1"/>
          <p:cNvGrpSpPr>
            <a:grpSpLocks noChangeAspect="1"/>
          </p:cNvGrpSpPr>
          <p:nvPr userDrawn="1"/>
        </p:nvGrpSpPr>
        <p:grpSpPr bwMode="auto">
          <a:xfrm>
            <a:off x="4197350" y="1946787"/>
            <a:ext cx="750888" cy="1215000"/>
            <a:chOff x="2407" y="1397"/>
            <a:chExt cx="946" cy="1530"/>
          </a:xfrm>
        </p:grpSpPr>
        <p:sp>
          <p:nvSpPr>
            <p:cNvPr id="215" name="Freeform 215"/>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6" name="Rectangle 216"/>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7" name="Oval 217"/>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8" name="Freeform 218"/>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3" name="person" hidden="1"/>
          <p:cNvGrpSpPr>
            <a:grpSpLocks noChangeAspect="1"/>
          </p:cNvGrpSpPr>
          <p:nvPr userDrawn="1"/>
        </p:nvGrpSpPr>
        <p:grpSpPr bwMode="auto">
          <a:xfrm>
            <a:off x="4187825" y="2047639"/>
            <a:ext cx="769938" cy="1013296"/>
            <a:chOff x="2395" y="1524"/>
            <a:chExt cx="970" cy="1276"/>
          </a:xfrm>
        </p:grpSpPr>
        <p:sp>
          <p:nvSpPr>
            <p:cNvPr id="211" name="Freeform 222"/>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2" name="Freeform 223"/>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3" name="Oval 224"/>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4" name="Freeform 225"/>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4" name="person_slips" hidden="1"/>
          <p:cNvGrpSpPr>
            <a:grpSpLocks noChangeAspect="1"/>
          </p:cNvGrpSpPr>
          <p:nvPr userDrawn="1"/>
        </p:nvGrpSpPr>
        <p:grpSpPr bwMode="auto">
          <a:xfrm>
            <a:off x="4187428" y="2047639"/>
            <a:ext cx="770732" cy="1013296"/>
            <a:chOff x="460" y="1095"/>
            <a:chExt cx="971" cy="1276"/>
          </a:xfrm>
        </p:grpSpPr>
        <p:sp>
          <p:nvSpPr>
            <p:cNvPr id="206" name="Freeform 229"/>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7" name="Freeform 230"/>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8" name="Oval 231"/>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9" name="Freeform 232"/>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0" name="Freeform 233"/>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5" name="gruppe" hidden="1"/>
          <p:cNvGrpSpPr>
            <a:grpSpLocks noChangeAspect="1"/>
          </p:cNvGrpSpPr>
          <p:nvPr userDrawn="1"/>
        </p:nvGrpSpPr>
        <p:grpSpPr bwMode="auto">
          <a:xfrm>
            <a:off x="3754437" y="1953139"/>
            <a:ext cx="1636715" cy="1202296"/>
            <a:chOff x="1847" y="1404"/>
            <a:chExt cx="2062" cy="1514"/>
          </a:xfrm>
        </p:grpSpPr>
        <p:sp>
          <p:nvSpPr>
            <p:cNvPr id="194" name="Freeform 237"/>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5" name="Freeform 238"/>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6" name="Oval 239"/>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7" name="Freeform 240"/>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8" name="Freeform 241"/>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9" name="Freeform 242"/>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0" name="Oval 243"/>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1" name="Freeform 244"/>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2" name="Freeform 245"/>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3" name="Freeform 246"/>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4" name="Oval 247"/>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5" name="Freeform 248"/>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sp>
        <p:nvSpPr>
          <p:cNvPr id="166" name="pilhoyre" hidden="1"/>
          <p:cNvSpPr>
            <a:spLocks/>
          </p:cNvSpPr>
          <p:nvPr userDrawn="1"/>
        </p:nvSpPr>
        <p:spPr bwMode="auto">
          <a:xfrm>
            <a:off x="4123135" y="2319228"/>
            <a:ext cx="899319" cy="470118"/>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7" name="pilvenstre" hidden="1"/>
          <p:cNvSpPr>
            <a:spLocks/>
          </p:cNvSpPr>
          <p:nvPr userDrawn="1"/>
        </p:nvSpPr>
        <p:spPr bwMode="auto">
          <a:xfrm>
            <a:off x="4123135" y="2319228"/>
            <a:ext cx="899319" cy="470118"/>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8" name="pilopp" hidden="1"/>
          <p:cNvSpPr>
            <a:spLocks/>
          </p:cNvSpPr>
          <p:nvPr userDrawn="1"/>
        </p:nvSpPr>
        <p:spPr bwMode="auto">
          <a:xfrm>
            <a:off x="4339035" y="2101243"/>
            <a:ext cx="467519" cy="906088"/>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9" name="pilned" hidden="1"/>
          <p:cNvSpPr>
            <a:spLocks/>
          </p:cNvSpPr>
          <p:nvPr userDrawn="1"/>
        </p:nvSpPr>
        <p:spPr bwMode="auto">
          <a:xfrm>
            <a:off x="4339035" y="2102037"/>
            <a:ext cx="467519" cy="904500"/>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nvGrpSpPr>
          <p:cNvPr id="170" name="prosses4" hidden="1"/>
          <p:cNvGrpSpPr/>
          <p:nvPr userDrawn="1"/>
        </p:nvGrpSpPr>
        <p:grpSpPr>
          <a:xfrm>
            <a:off x="3190168" y="1183991"/>
            <a:ext cx="2765252" cy="2740592"/>
            <a:chOff x="1949529" y="751583"/>
            <a:chExt cx="5530502" cy="5478645"/>
          </a:xfrm>
        </p:grpSpPr>
        <p:grpSp>
          <p:nvGrpSpPr>
            <p:cNvPr id="185" name="prosses4"/>
            <p:cNvGrpSpPr>
              <a:grpSpLocks noChangeAspect="1"/>
            </p:cNvGrpSpPr>
            <p:nvPr userDrawn="1"/>
          </p:nvGrpSpPr>
          <p:grpSpPr bwMode="auto">
            <a:xfrm>
              <a:off x="2255718" y="976312"/>
              <a:ext cx="4897441" cy="4897438"/>
              <a:chOff x="1336" y="615"/>
              <a:chExt cx="3085" cy="3085"/>
            </a:xfrm>
          </p:grpSpPr>
          <p:sp>
            <p:nvSpPr>
              <p:cNvPr id="190" name="Freeform 90"/>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1" name="Freeform 91"/>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2" name="Freeform 92"/>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3" name="Freeform 93"/>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sp>
          <p:nvSpPr>
            <p:cNvPr id="186" name="TekstSylinder 221"/>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1</a:t>
              </a:r>
              <a:endParaRPr lang="en-GB" sz="800" b="1" cap="all"/>
            </a:p>
          </p:txBody>
        </p:sp>
        <p:sp>
          <p:nvSpPr>
            <p:cNvPr id="187" name="TekstSylinder 227"/>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2</a:t>
              </a:r>
              <a:endParaRPr lang="en-GB" sz="800" b="1" cap="all"/>
            </a:p>
          </p:txBody>
        </p:sp>
        <p:sp>
          <p:nvSpPr>
            <p:cNvPr id="188" name="TekstSylinder 234"/>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3</a:t>
              </a:r>
              <a:endParaRPr lang="en-GB" sz="800" b="1" cap="all"/>
            </a:p>
          </p:txBody>
        </p:sp>
        <p:sp>
          <p:nvSpPr>
            <p:cNvPr id="189" name="TekstSylinder 242"/>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4</a:t>
              </a:r>
              <a:endParaRPr lang="en-GB" sz="800" b="1" cap="all"/>
            </a:p>
          </p:txBody>
        </p:sp>
      </p:grpSp>
      <p:grpSp>
        <p:nvGrpSpPr>
          <p:cNvPr id="171" name="prosses1" hidden="1"/>
          <p:cNvGrpSpPr/>
          <p:nvPr userDrawn="1"/>
        </p:nvGrpSpPr>
        <p:grpSpPr>
          <a:xfrm>
            <a:off x="3213894" y="1200714"/>
            <a:ext cx="2717801" cy="2707147"/>
            <a:chOff x="1865313" y="727076"/>
            <a:chExt cx="5435600" cy="5411787"/>
          </a:xfrm>
        </p:grpSpPr>
        <p:grpSp>
          <p:nvGrpSpPr>
            <p:cNvPr id="172" name="prosses1"/>
            <p:cNvGrpSpPr/>
            <p:nvPr userDrawn="1"/>
          </p:nvGrpSpPr>
          <p:grpSpPr>
            <a:xfrm>
              <a:off x="1865313" y="727076"/>
              <a:ext cx="5435600" cy="5411787"/>
              <a:chOff x="1865313" y="727076"/>
              <a:chExt cx="5435600" cy="5411787"/>
            </a:xfrm>
          </p:grpSpPr>
          <p:sp>
            <p:nvSpPr>
              <p:cNvPr id="178" name="Freeform 5"/>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79" name="Freeform 6"/>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0" name="Freeform 7"/>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1" name="Freeform 8"/>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2" name="Freeform 9"/>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3" name="Rectangle 56"/>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defTabSz="457200" eaLnBrk="0" fontAlgn="base" hangingPunct="0">
                  <a:spcBef>
                    <a:spcPct val="0"/>
                  </a:spcBef>
                  <a:spcAft>
                    <a:spcPct val="0"/>
                  </a:spcAft>
                </a:pPr>
                <a:r>
                  <a:rPr lang="en-US" altLang="en-US" sz="1400" b="1">
                    <a:solidFill>
                      <a:srgbClr val="010101"/>
                    </a:solidFill>
                    <a:latin typeface="Arial" panose="020B0604020202020204" pitchFamily="34" charset="0"/>
                  </a:rPr>
                  <a:t>Tittel</a:t>
                </a:r>
                <a:endParaRPr lang="en-US" altLang="en-US" sz="900">
                  <a:latin typeface="Arial" panose="020B0604020202020204" pitchFamily="34" charset="0"/>
                </a:endParaRPr>
              </a:p>
            </p:txBody>
          </p:sp>
          <p:sp>
            <p:nvSpPr>
              <p:cNvPr id="184" name="Rectangle 58"/>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900">
                    <a:solidFill>
                      <a:srgbClr val="010101"/>
                    </a:solidFill>
                    <a:latin typeface="Arial" panose="020B0604020202020204" pitchFamily="34" charset="0"/>
                  </a:rPr>
                  <a:t>Hva handler dette</a:t>
                </a:r>
                <a:br>
                  <a:rPr lang="en-US" altLang="en-US" sz="900">
                    <a:solidFill>
                      <a:srgbClr val="010101"/>
                    </a:solidFill>
                    <a:latin typeface="Arial" panose="020B0604020202020204" pitchFamily="34" charset="0"/>
                  </a:rPr>
                </a:br>
                <a:r>
                  <a:rPr lang="en-US" altLang="en-US" sz="9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grpSp>
        <p:sp>
          <p:nvSpPr>
            <p:cNvPr id="173" name="TekstSylinder 244"/>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1</a:t>
              </a:r>
              <a:endParaRPr lang="en-GB" sz="800" b="1" cap="all">
                <a:solidFill>
                  <a:schemeClr val="bg1"/>
                </a:solidFill>
              </a:endParaRPr>
            </a:p>
          </p:txBody>
        </p:sp>
        <p:sp>
          <p:nvSpPr>
            <p:cNvPr id="174" name="TekstSylinder 264"/>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2</a:t>
              </a:r>
              <a:endParaRPr lang="en-GB" sz="800" b="1" cap="all">
                <a:solidFill>
                  <a:schemeClr val="bg1"/>
                </a:solidFill>
              </a:endParaRPr>
            </a:p>
          </p:txBody>
        </p:sp>
        <p:sp>
          <p:nvSpPr>
            <p:cNvPr id="175" name="TekstSylinder 265"/>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3</a:t>
              </a:r>
              <a:endParaRPr lang="en-GB" sz="800" b="1" cap="all">
                <a:solidFill>
                  <a:schemeClr val="bg1"/>
                </a:solidFill>
              </a:endParaRPr>
            </a:p>
          </p:txBody>
        </p:sp>
        <p:sp>
          <p:nvSpPr>
            <p:cNvPr id="176" name="TekstSylinder 266"/>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4</a:t>
              </a:r>
              <a:endParaRPr lang="en-GB" sz="800" b="1" cap="all">
                <a:solidFill>
                  <a:schemeClr val="bg1"/>
                </a:solidFill>
              </a:endParaRPr>
            </a:p>
          </p:txBody>
        </p:sp>
        <p:sp>
          <p:nvSpPr>
            <p:cNvPr id="177" name="TekstSylinder 267"/>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5</a:t>
              </a:r>
              <a:endParaRPr lang="en-GB" sz="800" b="1" cap="all">
                <a:solidFill>
                  <a:schemeClr val="bg1"/>
                </a:solidFill>
              </a:endParaRPr>
            </a:p>
          </p:txBody>
        </p:sp>
      </p:grpSp>
      <p:pic>
        <p:nvPicPr>
          <p:cNvPr id="309" name="Bilde 308"/>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288036" y="288036"/>
            <a:ext cx="543600" cy="657234"/>
          </a:xfrm>
          <a:prstGeom prst="rect">
            <a:avLst/>
          </a:prstGeom>
        </p:spPr>
      </p:pic>
      <p:grpSp>
        <p:nvGrpSpPr>
          <p:cNvPr id="7" name="Verden" hidden="1"/>
          <p:cNvGrpSpPr>
            <a:grpSpLocks noChangeAspect="1"/>
          </p:cNvGrpSpPr>
          <p:nvPr userDrawn="1"/>
        </p:nvGrpSpPr>
        <p:grpSpPr bwMode="auto">
          <a:xfrm>
            <a:off x="4067176" y="2047875"/>
            <a:ext cx="1011237" cy="1012824"/>
            <a:chOff x="2585" y="369"/>
            <a:chExt cx="637" cy="638"/>
          </a:xfrm>
        </p:grpSpPr>
        <p:sp>
          <p:nvSpPr>
            <p:cNvPr id="9" name="Freeform 5"/>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 name="Freeform 6"/>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Freeform 7"/>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 name="Freeform 8"/>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 name="Freeform 9"/>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6" name="Vaskeboette" hidden="1"/>
          <p:cNvGrpSpPr>
            <a:grpSpLocks noChangeAspect="1"/>
          </p:cNvGrpSpPr>
          <p:nvPr userDrawn="1"/>
        </p:nvGrpSpPr>
        <p:grpSpPr bwMode="auto">
          <a:xfrm>
            <a:off x="4102895" y="1946275"/>
            <a:ext cx="939799" cy="1216025"/>
            <a:chOff x="1610" y="386"/>
            <a:chExt cx="592" cy="766"/>
          </a:xfrm>
        </p:grpSpPr>
        <p:sp>
          <p:nvSpPr>
            <p:cNvPr id="18" name="Freeform 13"/>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9" name="Freeform 14"/>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0" name="Freeform 15"/>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1" name="Freeform 16"/>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2" name="Freeform 17"/>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3" name="Freeform 18"/>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4" name="Freeform 19"/>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5" name="Freeform 20"/>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27" name="UtenlandskArbeidstaker" hidden="1"/>
          <p:cNvGrpSpPr>
            <a:grpSpLocks noChangeAspect="1"/>
          </p:cNvGrpSpPr>
          <p:nvPr userDrawn="1"/>
        </p:nvGrpSpPr>
        <p:grpSpPr bwMode="auto">
          <a:xfrm>
            <a:off x="4131469" y="1826418"/>
            <a:ext cx="882650" cy="1455738"/>
            <a:chOff x="1137" y="1217"/>
            <a:chExt cx="556" cy="917"/>
          </a:xfrm>
        </p:grpSpPr>
        <p:sp>
          <p:nvSpPr>
            <p:cNvPr id="29" name="Freeform 24"/>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30" name="Oval 25"/>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31" name="Freeform 26"/>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28" name="Freeform 27"/>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9" name="Freeform 28"/>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0" name="Freeform 29"/>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1" name="Freeform 30"/>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33" name="Transportmiddel_tog" hidden="1"/>
          <p:cNvGrpSpPr>
            <a:grpSpLocks noChangeAspect="1"/>
          </p:cNvGrpSpPr>
          <p:nvPr userDrawn="1"/>
        </p:nvGrpSpPr>
        <p:grpSpPr bwMode="auto">
          <a:xfrm>
            <a:off x="4068763" y="1806575"/>
            <a:ext cx="1008063" cy="1495425"/>
            <a:chOff x="3547" y="1142"/>
            <a:chExt cx="635" cy="942"/>
          </a:xfrm>
        </p:grpSpPr>
        <p:sp>
          <p:nvSpPr>
            <p:cNvPr id="135" name="Freeform 34"/>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6" name="Freeform 35"/>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7" name="Freeform 36"/>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39" name="SvartArbeid" hidden="1"/>
          <p:cNvGrpSpPr>
            <a:grpSpLocks noChangeAspect="1"/>
          </p:cNvGrpSpPr>
          <p:nvPr userDrawn="1"/>
        </p:nvGrpSpPr>
        <p:grpSpPr bwMode="auto">
          <a:xfrm>
            <a:off x="4143375" y="1974850"/>
            <a:ext cx="858838" cy="1158875"/>
            <a:chOff x="1863" y="1517"/>
            <a:chExt cx="541" cy="730"/>
          </a:xfrm>
        </p:grpSpPr>
        <p:sp>
          <p:nvSpPr>
            <p:cNvPr id="141" name="Freeform 40"/>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42" name="Oval 41"/>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43" name="Freeform 42"/>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45" name="Skjema" hidden="1"/>
          <p:cNvGrpSpPr>
            <a:grpSpLocks noChangeAspect="1"/>
          </p:cNvGrpSpPr>
          <p:nvPr userDrawn="1"/>
        </p:nvGrpSpPr>
        <p:grpSpPr bwMode="auto">
          <a:xfrm>
            <a:off x="3430588" y="1896268"/>
            <a:ext cx="2284413" cy="1316038"/>
            <a:chOff x="2733" y="2022"/>
            <a:chExt cx="1439" cy="829"/>
          </a:xfrm>
        </p:grpSpPr>
        <p:sp>
          <p:nvSpPr>
            <p:cNvPr id="147" name="Freeform 46"/>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8" name="Freeform 47"/>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9" name="Line 48"/>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0" name="Line 49"/>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1" name="Line 50"/>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2" name="Line 51"/>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3" name="Freeform 52"/>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4" name="Line 53"/>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0" name="Freeform 54"/>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1" name="Line 55"/>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2" name="Freeform 56"/>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964" name="Regnskapsfoerer" hidden="1"/>
          <p:cNvGrpSpPr>
            <a:grpSpLocks noChangeAspect="1"/>
          </p:cNvGrpSpPr>
          <p:nvPr userDrawn="1"/>
        </p:nvGrpSpPr>
        <p:grpSpPr bwMode="auto">
          <a:xfrm>
            <a:off x="4132263" y="1943100"/>
            <a:ext cx="881063" cy="1222375"/>
            <a:chOff x="3989" y="190"/>
            <a:chExt cx="555" cy="770"/>
          </a:xfrm>
        </p:grpSpPr>
        <p:sp>
          <p:nvSpPr>
            <p:cNvPr id="966" name="Freeform 60"/>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67" name="Oval 61"/>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68" name="Freeform 62"/>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970" name="Pensjonist" hidden="1"/>
          <p:cNvGrpSpPr>
            <a:grpSpLocks noChangeAspect="1"/>
          </p:cNvGrpSpPr>
          <p:nvPr userDrawn="1"/>
        </p:nvGrpSpPr>
        <p:grpSpPr bwMode="auto">
          <a:xfrm>
            <a:off x="4133057" y="1893887"/>
            <a:ext cx="879475" cy="1320801"/>
            <a:chOff x="4341" y="1057"/>
            <a:chExt cx="554" cy="832"/>
          </a:xfrm>
        </p:grpSpPr>
        <p:sp>
          <p:nvSpPr>
            <p:cNvPr id="972" name="Freeform 66"/>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3" name="Oval 67"/>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4" name="Freeform 68"/>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976" name="Pengeoverfoering" hidden="1"/>
          <p:cNvGrpSpPr>
            <a:grpSpLocks noChangeAspect="1"/>
          </p:cNvGrpSpPr>
          <p:nvPr userDrawn="1"/>
        </p:nvGrpSpPr>
        <p:grpSpPr bwMode="auto">
          <a:xfrm>
            <a:off x="3571082" y="1752600"/>
            <a:ext cx="2003425" cy="1603375"/>
            <a:chOff x="2307" y="187"/>
            <a:chExt cx="1262" cy="1010"/>
          </a:xfrm>
        </p:grpSpPr>
        <p:sp>
          <p:nvSpPr>
            <p:cNvPr id="978" name="Freeform 72"/>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9" name="Freeform 73"/>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0" name="Freeform 74"/>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1" name="Freeform 75"/>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2" name="Freeform 76"/>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3" name="Freeform 77"/>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4" name="Freeform 78"/>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5" name="Freeform 79"/>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6" name="Freeform 80"/>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7" name="Oval 81"/>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8" name="Oval 82"/>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9" name="Freeform 83"/>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0" name="Freeform 84"/>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1" name="Freeform 85"/>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2" name="Freeform 86"/>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3" name="Freeform 87"/>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4" name="Freeform 88"/>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5" name="Oval 89"/>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6" name="Oval 90"/>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7" name="Freeform 91"/>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8" name="Freeform 92"/>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9" name="Freeform 93"/>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0" name="Freeform 94"/>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1" name="Freeform 95"/>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2" name="Freeform 96"/>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3" name="Freeform 97"/>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4" name="Freeform 98"/>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5" name="Freeform 99"/>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6" name="Freeform 100"/>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7" name="Freeform 101"/>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8" name="Freeform 102"/>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9" name="Oval 103"/>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0" name="Oval 104"/>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12" name="Nettbrett" hidden="1"/>
          <p:cNvGrpSpPr>
            <a:grpSpLocks noChangeAspect="1"/>
          </p:cNvGrpSpPr>
          <p:nvPr userDrawn="1"/>
        </p:nvGrpSpPr>
        <p:grpSpPr bwMode="auto">
          <a:xfrm>
            <a:off x="3467100" y="1872456"/>
            <a:ext cx="2211388" cy="1363663"/>
            <a:chOff x="2517" y="961"/>
            <a:chExt cx="1393" cy="859"/>
          </a:xfrm>
        </p:grpSpPr>
        <p:sp>
          <p:nvSpPr>
            <p:cNvPr id="1014" name="Freeform 108"/>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5" name="Rectangle 109"/>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6" name="Oval 110"/>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18" name="Mobil" hidden="1"/>
          <p:cNvGrpSpPr>
            <a:grpSpLocks noChangeAspect="1"/>
          </p:cNvGrpSpPr>
          <p:nvPr userDrawn="1"/>
        </p:nvGrpSpPr>
        <p:grpSpPr bwMode="auto">
          <a:xfrm>
            <a:off x="3971925" y="1579562"/>
            <a:ext cx="1201738" cy="1949450"/>
            <a:chOff x="1351" y="832"/>
            <a:chExt cx="757" cy="1228"/>
          </a:xfrm>
        </p:grpSpPr>
        <p:sp>
          <p:nvSpPr>
            <p:cNvPr id="1020" name="Freeform 114"/>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1" name="Rectangle 115"/>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2" name="Oval 116"/>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24" name="Institusjon" hidden="1"/>
          <p:cNvGrpSpPr>
            <a:grpSpLocks noChangeAspect="1"/>
          </p:cNvGrpSpPr>
          <p:nvPr userDrawn="1"/>
        </p:nvGrpSpPr>
        <p:grpSpPr bwMode="auto">
          <a:xfrm>
            <a:off x="3409950" y="1926431"/>
            <a:ext cx="2325688" cy="1255712"/>
            <a:chOff x="2465" y="1978"/>
            <a:chExt cx="1465" cy="791"/>
          </a:xfrm>
        </p:grpSpPr>
        <p:sp>
          <p:nvSpPr>
            <p:cNvPr id="1026" name="Freeform 120"/>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7" name="Freeform 121"/>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8" name="Rectangle 122"/>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9" name="Freeform 123"/>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0" name="Freeform 124"/>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1" name="Freeform 125"/>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2" name="Freeform 126"/>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3" name="Freeform 127"/>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4" name="Freeform 128"/>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5" name="Freeform 129"/>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6" name="Freeform 130"/>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7" name="Freeform 131"/>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8" name="Freeform 132"/>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9" name="Freeform 133"/>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0" name="Freeform 134"/>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1" name="Freeform 135"/>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2" name="Freeform 136"/>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3" name="Freeform 137"/>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4" name="Freeform 138"/>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5" name="Freeform 139"/>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6" name="Freeform 140"/>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7" name="Line 141"/>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48" name="Line 142"/>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49" name="Line 143"/>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50" name="Line 144"/>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52" name="Handpenger" hidden="1"/>
          <p:cNvGrpSpPr>
            <a:grpSpLocks noChangeAspect="1"/>
          </p:cNvGrpSpPr>
          <p:nvPr userDrawn="1"/>
        </p:nvGrpSpPr>
        <p:grpSpPr bwMode="auto">
          <a:xfrm>
            <a:off x="3331369" y="1750218"/>
            <a:ext cx="2482850" cy="1608138"/>
            <a:chOff x="2178" y="950"/>
            <a:chExt cx="1564" cy="1013"/>
          </a:xfrm>
        </p:grpSpPr>
        <p:sp>
          <p:nvSpPr>
            <p:cNvPr id="1054" name="Freeform 148"/>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5" name="Rectangle 149"/>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6" name="Freeform 150"/>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7" name="Rectangle 151"/>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8" name="Freeform 152"/>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59" name="Freeform 153"/>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0" name="Freeform 154"/>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1" name="Freeform 155"/>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63" name="Familie" hidden="1"/>
          <p:cNvGrpSpPr>
            <a:grpSpLocks noChangeAspect="1"/>
          </p:cNvGrpSpPr>
          <p:nvPr userDrawn="1"/>
        </p:nvGrpSpPr>
        <p:grpSpPr bwMode="auto">
          <a:xfrm>
            <a:off x="3744119" y="1870075"/>
            <a:ext cx="1657350" cy="1368425"/>
            <a:chOff x="2484" y="566"/>
            <a:chExt cx="1044" cy="862"/>
          </a:xfrm>
        </p:grpSpPr>
        <p:sp>
          <p:nvSpPr>
            <p:cNvPr id="1065" name="Freeform 159"/>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6" name="Oval 160"/>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7" name="Freeform 161"/>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68" name="Oval 162"/>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69" name="Freeform 163"/>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0" name="Oval 164"/>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1" name="Freeform 165"/>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2" name="Oval 166"/>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3" name="Line 167"/>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4" name="Line 168"/>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5" name="Line 169"/>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6" name="Freeform 170"/>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7" name="Freeform 171"/>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8" name="Freeform 172"/>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9" name="Freeform 173"/>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0" name="Freeform 174"/>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82" name="Ektepar" hidden="1"/>
          <p:cNvGrpSpPr>
            <a:grpSpLocks noChangeAspect="1"/>
          </p:cNvGrpSpPr>
          <p:nvPr userDrawn="1"/>
        </p:nvGrpSpPr>
        <p:grpSpPr bwMode="auto">
          <a:xfrm>
            <a:off x="3798094" y="1906587"/>
            <a:ext cx="1549400" cy="1295400"/>
            <a:chOff x="1152" y="582"/>
            <a:chExt cx="976" cy="816"/>
          </a:xfrm>
        </p:grpSpPr>
        <p:sp>
          <p:nvSpPr>
            <p:cNvPr id="1084" name="Freeform 178"/>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5" name="Oval 179"/>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6" name="Freeform 180"/>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7" name="Freeform 181"/>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8" name="Oval 182"/>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9" name="Freeform 183"/>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91" name="Byggekloss" hidden="1"/>
          <p:cNvGrpSpPr>
            <a:grpSpLocks noChangeAspect="1"/>
          </p:cNvGrpSpPr>
          <p:nvPr userDrawn="1"/>
        </p:nvGrpSpPr>
        <p:grpSpPr bwMode="auto">
          <a:xfrm>
            <a:off x="3734594" y="2005806"/>
            <a:ext cx="1676400" cy="1096962"/>
            <a:chOff x="2705" y="1748"/>
            <a:chExt cx="1056" cy="691"/>
          </a:xfrm>
        </p:grpSpPr>
        <p:sp>
          <p:nvSpPr>
            <p:cNvPr id="1093" name="Rectangle 187"/>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4" name="Rectangle 188"/>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5" name="Rectangle 189"/>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6" name="Rectangle 190"/>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7" name="Rectangle 191"/>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8" name="Freeform 192"/>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9" name="Freeform 193"/>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0" name="Freeform 194"/>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1" name="Freeform 195"/>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2" name="Rectangle 196"/>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3" name="Rectangle 197"/>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4" name="Rectangle 198"/>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106" name="Baby" hidden="1"/>
          <p:cNvGrpSpPr>
            <a:grpSpLocks noChangeAspect="1"/>
          </p:cNvGrpSpPr>
          <p:nvPr userDrawn="1"/>
        </p:nvGrpSpPr>
        <p:grpSpPr bwMode="auto">
          <a:xfrm>
            <a:off x="4132263" y="1843087"/>
            <a:ext cx="881063" cy="1422400"/>
            <a:chOff x="3889" y="1680"/>
            <a:chExt cx="555" cy="896"/>
          </a:xfrm>
        </p:grpSpPr>
        <p:sp>
          <p:nvSpPr>
            <p:cNvPr id="1108" name="Freeform 202"/>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109" name="Line 203"/>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10" name="Freeform 204"/>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1" name="Oval 205"/>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2" name="Oval 206"/>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3" name="Oval 207"/>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115" name="Utropstegn" hidden="1"/>
          <p:cNvGrpSpPr>
            <a:grpSpLocks noChangeAspect="1"/>
          </p:cNvGrpSpPr>
          <p:nvPr userDrawn="1"/>
        </p:nvGrpSpPr>
        <p:grpSpPr bwMode="auto">
          <a:xfrm>
            <a:off x="4279901" y="1889125"/>
            <a:ext cx="280987" cy="1117600"/>
            <a:chOff x="2696" y="1190"/>
            <a:chExt cx="177" cy="704"/>
          </a:xfrm>
        </p:grpSpPr>
        <p:sp>
          <p:nvSpPr>
            <p:cNvPr id="1117" name="Freeform 211"/>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8" name="Oval 212"/>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120" name="penger" hidden="1"/>
          <p:cNvGrpSpPr>
            <a:grpSpLocks noChangeAspect="1"/>
          </p:cNvGrpSpPr>
          <p:nvPr userDrawn="1"/>
        </p:nvGrpSpPr>
        <p:grpSpPr bwMode="auto">
          <a:xfrm>
            <a:off x="3976689" y="1817688"/>
            <a:ext cx="1150938" cy="995362"/>
            <a:chOff x="2505" y="1145"/>
            <a:chExt cx="725" cy="627"/>
          </a:xfrm>
        </p:grpSpPr>
        <p:sp>
          <p:nvSpPr>
            <p:cNvPr id="1122" name="Freeform 216"/>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3" name="Freeform 217"/>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4" name="Freeform 218"/>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5" name="Freeform 219"/>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6" name="Freeform 220"/>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7" name="Freeform 221"/>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8" name="Freeform 222"/>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9" name="Freeform 223"/>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0" name="Oval 224"/>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1" name="Oval 225"/>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2" name="Freeform 226"/>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3" name="Freeform 227"/>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4" name="Freeform 228"/>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5" name="Freeform 229"/>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6" name="Freeform 230"/>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7" name="Freeform 231"/>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8" name="Oval 232"/>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9" name="Oval 233"/>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0" name="Freeform 234"/>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1" name="Freeform 235"/>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2" name="Freeform 236"/>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3" name="Freeform 237"/>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4" name="Freeform 238"/>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5" name="Freeform 239"/>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6" name="Freeform 240"/>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7" name="Freeform 241"/>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8" name="Freeform 242"/>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9" name="Freeform 243"/>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50" name="Freeform 244"/>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51" name="Freeform 245"/>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52" name="Oval 246"/>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53" name="Oval 247"/>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spTree>
    <p:extLst>
      <p:ext uri="{BB962C8B-B14F-4D97-AF65-F5344CB8AC3E}">
        <p14:creationId xmlns:p14="http://schemas.microsoft.com/office/powerpoint/2010/main" val="4197812034"/>
      </p:ext>
    </p:extLst>
  </p:cSld>
  <p:clrMap bg1="lt1" tx1="dk1" bg2="lt2" tx2="dk2" accent1="accent1" accent2="accent2" accent3="accent3" accent4="accent4" accent5="accent5" accent6="accent6" hlink="hlink" folHlink="folHlink"/>
  <p:sldLayoutIdLst>
    <p:sldLayoutId id="2147483663" r:id="rId1"/>
    <p:sldLayoutId id="2147483939" r:id="rId2"/>
    <p:sldLayoutId id="2147483728" r:id="rId3"/>
    <p:sldLayoutId id="2147483887" r:id="rId4"/>
    <p:sldLayoutId id="2147483940" r:id="rId5"/>
    <p:sldLayoutId id="2147483941" r:id="rId6"/>
    <p:sldLayoutId id="2147483878" r:id="rId7"/>
    <p:sldLayoutId id="2147483834" r:id="rId8"/>
    <p:sldLayoutId id="2147483888" r:id="rId9"/>
    <p:sldLayoutId id="2147483942" r:id="rId10"/>
    <p:sldLayoutId id="2147483889" r:id="rId11"/>
    <p:sldLayoutId id="2147483930" r:id="rId12"/>
    <p:sldLayoutId id="2147483987" r:id="rId13"/>
    <p:sldLayoutId id="2147483988" r:id="rId14"/>
    <p:sldLayoutId id="2147483991" r:id="rId15"/>
  </p:sldLayoutIdLst>
  <p:hf sldNum="0" hdr="0" ftr="0" dt="0"/>
  <p:txStyles>
    <p:title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p:titleStyle>
    <p:body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1091" rtl="0" eaLnBrk="1" latinLnBrk="0" hangingPunct="1">
        <a:defRPr sz="1300" kern="1200">
          <a:solidFill>
            <a:schemeClr val="tx1"/>
          </a:solidFill>
          <a:latin typeface="+mn-lt"/>
          <a:ea typeface="+mn-ea"/>
          <a:cs typeface="+mn-cs"/>
        </a:defRPr>
      </a:lvl1pPr>
      <a:lvl2pPr marL="340545" algn="l" defTabSz="681091" rtl="0" eaLnBrk="1" latinLnBrk="0" hangingPunct="1">
        <a:defRPr sz="1300" kern="1200">
          <a:solidFill>
            <a:schemeClr val="tx1"/>
          </a:solidFill>
          <a:latin typeface="+mn-lt"/>
          <a:ea typeface="+mn-ea"/>
          <a:cs typeface="+mn-cs"/>
        </a:defRPr>
      </a:lvl2pPr>
      <a:lvl3pPr marL="681091" algn="l" defTabSz="681091" rtl="0" eaLnBrk="1" latinLnBrk="0" hangingPunct="1">
        <a:defRPr sz="1300" kern="1200">
          <a:solidFill>
            <a:schemeClr val="tx1"/>
          </a:solidFill>
          <a:latin typeface="+mn-lt"/>
          <a:ea typeface="+mn-ea"/>
          <a:cs typeface="+mn-cs"/>
        </a:defRPr>
      </a:lvl3pPr>
      <a:lvl4pPr marL="1021636" algn="l" defTabSz="681091" rtl="0" eaLnBrk="1" latinLnBrk="0" hangingPunct="1">
        <a:defRPr sz="1300" kern="1200">
          <a:solidFill>
            <a:schemeClr val="tx1"/>
          </a:solidFill>
          <a:latin typeface="+mn-lt"/>
          <a:ea typeface="+mn-ea"/>
          <a:cs typeface="+mn-cs"/>
        </a:defRPr>
      </a:lvl4pPr>
      <a:lvl5pPr marL="1362183" algn="l" defTabSz="681091" rtl="0" eaLnBrk="1" latinLnBrk="0" hangingPunct="1">
        <a:defRPr sz="1300" kern="1200">
          <a:solidFill>
            <a:schemeClr val="tx1"/>
          </a:solidFill>
          <a:latin typeface="+mn-lt"/>
          <a:ea typeface="+mn-ea"/>
          <a:cs typeface="+mn-cs"/>
        </a:defRPr>
      </a:lvl5pPr>
      <a:lvl6pPr marL="1702727" algn="l" defTabSz="681091" rtl="0" eaLnBrk="1" latinLnBrk="0" hangingPunct="1">
        <a:defRPr sz="1300" kern="1200">
          <a:solidFill>
            <a:schemeClr val="tx1"/>
          </a:solidFill>
          <a:latin typeface="+mn-lt"/>
          <a:ea typeface="+mn-ea"/>
          <a:cs typeface="+mn-cs"/>
        </a:defRPr>
      </a:lvl6pPr>
      <a:lvl7pPr marL="2043272" algn="l" defTabSz="681091" rtl="0" eaLnBrk="1" latinLnBrk="0" hangingPunct="1">
        <a:defRPr sz="1300" kern="1200">
          <a:solidFill>
            <a:schemeClr val="tx1"/>
          </a:solidFill>
          <a:latin typeface="+mn-lt"/>
          <a:ea typeface="+mn-ea"/>
          <a:cs typeface="+mn-cs"/>
        </a:defRPr>
      </a:lvl7pPr>
      <a:lvl8pPr marL="2383818" algn="l" defTabSz="681091" rtl="0" eaLnBrk="1" latinLnBrk="0" hangingPunct="1">
        <a:defRPr sz="1300" kern="1200">
          <a:solidFill>
            <a:schemeClr val="tx1"/>
          </a:solidFill>
          <a:latin typeface="+mn-lt"/>
          <a:ea typeface="+mn-ea"/>
          <a:cs typeface="+mn-cs"/>
        </a:defRPr>
      </a:lvl8pPr>
      <a:lvl9pPr marL="2724363" algn="l" defTabSz="681091"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1980" y="1296192"/>
            <a:ext cx="8515018" cy="987421"/>
          </a:xfrm>
          <a:prstGeom prst="rect">
            <a:avLst/>
          </a:prstGeom>
        </p:spPr>
        <p:txBody>
          <a:bodyPr vert="horz"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321980" y="2743688"/>
            <a:ext cx="8515018" cy="2093302"/>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3" y="268201"/>
            <a:ext cx="670791" cy="268200"/>
          </a:xfrm>
          <a:prstGeom prst="rect">
            <a:avLst/>
          </a:prstGeom>
        </p:spPr>
        <p:txBody>
          <a:bodyPr vert="horz" lIns="0" tIns="0" rIns="0" bIns="0" rtlCol="0" anchor="t" anchorCtr="0">
            <a:normAutofit/>
          </a:bodyPr>
          <a:lstStyle>
            <a:lvl1pPr algn="l">
              <a:defRPr sz="700" b="1">
                <a:solidFill>
                  <a:schemeClr val="tx1"/>
                </a:solidFill>
              </a:defRPr>
            </a:lvl1pPr>
          </a:lstStyle>
          <a:p>
            <a:fld id="{25AB5CF0-6FFE-4401-9E16-9A2B550CCB37}" type="datetime1">
              <a:rPr lang="nb-NO" smtClean="0"/>
              <a:t>13.10.2021</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700"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700" b="1">
                <a:solidFill>
                  <a:schemeClr val="tx1"/>
                </a:solidFill>
              </a:defRPr>
            </a:lvl1pPr>
          </a:lstStyle>
          <a:p>
            <a:fld id="{D8865200-363A-4A27-BFE2-9D2920C8E885}" type="slidenum">
              <a:rPr lang="nb-NO" smtClean="0"/>
              <a:pPr/>
              <a:t>‹#›</a:t>
            </a:fld>
            <a:endParaRPr lang="nb-NO"/>
          </a:p>
        </p:txBody>
      </p:sp>
      <p:pic>
        <p:nvPicPr>
          <p:cNvPr id="9" name="Bilde 8"/>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288036" y="288036"/>
            <a:ext cx="543600" cy="657234"/>
          </a:xfrm>
          <a:prstGeom prst="rect">
            <a:avLst/>
          </a:prstGeom>
        </p:spPr>
      </p:pic>
    </p:spTree>
    <p:extLst>
      <p:ext uri="{BB962C8B-B14F-4D97-AF65-F5344CB8AC3E}">
        <p14:creationId xmlns:p14="http://schemas.microsoft.com/office/powerpoint/2010/main" val="310797448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900" r:id="rId4"/>
    <p:sldLayoutId id="2147483902" r:id="rId5"/>
    <p:sldLayoutId id="2147483904" r:id="rId6"/>
    <p:sldLayoutId id="2147483905" r:id="rId7"/>
    <p:sldLayoutId id="2147483906" r:id="rId8"/>
  </p:sldLayoutIdLst>
  <p:hf sldNum="0" hdr="0" ftr="0" dt="0"/>
  <p:txStyles>
    <p:title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p:titleStyle>
    <p:bodyStyle>
      <a:lvl1pPr marL="170272" indent="-170272" algn="l" defTabSz="681091" rtl="0" eaLnBrk="1" latinLnBrk="0" hangingPunct="1">
        <a:lnSpc>
          <a:spcPct val="10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10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10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10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10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1091" rtl="0" eaLnBrk="1" latinLnBrk="0" hangingPunct="1">
        <a:defRPr sz="1300" kern="1200">
          <a:solidFill>
            <a:schemeClr val="tx1"/>
          </a:solidFill>
          <a:latin typeface="+mn-lt"/>
          <a:ea typeface="+mn-ea"/>
          <a:cs typeface="+mn-cs"/>
        </a:defRPr>
      </a:lvl1pPr>
      <a:lvl2pPr marL="340545" algn="l" defTabSz="681091" rtl="0" eaLnBrk="1" latinLnBrk="0" hangingPunct="1">
        <a:defRPr sz="1300" kern="1200">
          <a:solidFill>
            <a:schemeClr val="tx1"/>
          </a:solidFill>
          <a:latin typeface="+mn-lt"/>
          <a:ea typeface="+mn-ea"/>
          <a:cs typeface="+mn-cs"/>
        </a:defRPr>
      </a:lvl2pPr>
      <a:lvl3pPr marL="681091" algn="l" defTabSz="681091" rtl="0" eaLnBrk="1" latinLnBrk="0" hangingPunct="1">
        <a:defRPr sz="1300" kern="1200">
          <a:solidFill>
            <a:schemeClr val="tx1"/>
          </a:solidFill>
          <a:latin typeface="+mn-lt"/>
          <a:ea typeface="+mn-ea"/>
          <a:cs typeface="+mn-cs"/>
        </a:defRPr>
      </a:lvl3pPr>
      <a:lvl4pPr marL="1021636" algn="l" defTabSz="681091" rtl="0" eaLnBrk="1" latinLnBrk="0" hangingPunct="1">
        <a:defRPr sz="1300" kern="1200">
          <a:solidFill>
            <a:schemeClr val="tx1"/>
          </a:solidFill>
          <a:latin typeface="+mn-lt"/>
          <a:ea typeface="+mn-ea"/>
          <a:cs typeface="+mn-cs"/>
        </a:defRPr>
      </a:lvl4pPr>
      <a:lvl5pPr marL="1362183" algn="l" defTabSz="681091" rtl="0" eaLnBrk="1" latinLnBrk="0" hangingPunct="1">
        <a:defRPr sz="1300" kern="1200">
          <a:solidFill>
            <a:schemeClr val="tx1"/>
          </a:solidFill>
          <a:latin typeface="+mn-lt"/>
          <a:ea typeface="+mn-ea"/>
          <a:cs typeface="+mn-cs"/>
        </a:defRPr>
      </a:lvl5pPr>
      <a:lvl6pPr marL="1702727" algn="l" defTabSz="681091" rtl="0" eaLnBrk="1" latinLnBrk="0" hangingPunct="1">
        <a:defRPr sz="1300" kern="1200">
          <a:solidFill>
            <a:schemeClr val="tx1"/>
          </a:solidFill>
          <a:latin typeface="+mn-lt"/>
          <a:ea typeface="+mn-ea"/>
          <a:cs typeface="+mn-cs"/>
        </a:defRPr>
      </a:lvl6pPr>
      <a:lvl7pPr marL="2043272" algn="l" defTabSz="681091" rtl="0" eaLnBrk="1" latinLnBrk="0" hangingPunct="1">
        <a:defRPr sz="1300" kern="1200">
          <a:solidFill>
            <a:schemeClr val="tx1"/>
          </a:solidFill>
          <a:latin typeface="+mn-lt"/>
          <a:ea typeface="+mn-ea"/>
          <a:cs typeface="+mn-cs"/>
        </a:defRPr>
      </a:lvl7pPr>
      <a:lvl8pPr marL="2383818" algn="l" defTabSz="681091" rtl="0" eaLnBrk="1" latinLnBrk="0" hangingPunct="1">
        <a:defRPr sz="1300" kern="1200">
          <a:solidFill>
            <a:schemeClr val="tx1"/>
          </a:solidFill>
          <a:latin typeface="+mn-lt"/>
          <a:ea typeface="+mn-ea"/>
          <a:cs typeface="+mn-cs"/>
        </a:defRPr>
      </a:lvl8pPr>
      <a:lvl9pPr marL="2724363" algn="l" defTabSz="681091" rtl="0" eaLnBrk="1" latinLnBrk="0"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1980" y="1296192"/>
            <a:ext cx="8515018" cy="987421"/>
          </a:xfrm>
          <a:prstGeom prst="rect">
            <a:avLst/>
          </a:prstGeom>
        </p:spPr>
        <p:txBody>
          <a:bodyPr vert="horz"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321980" y="2743688"/>
            <a:ext cx="8515018" cy="2093302"/>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3" y="268201"/>
            <a:ext cx="670791" cy="268200"/>
          </a:xfrm>
          <a:prstGeom prst="rect">
            <a:avLst/>
          </a:prstGeom>
        </p:spPr>
        <p:txBody>
          <a:bodyPr vert="horz" lIns="0" tIns="0" rIns="0" bIns="0" rtlCol="0" anchor="t" anchorCtr="0">
            <a:normAutofit/>
          </a:bodyPr>
          <a:lstStyle>
            <a:lvl1pPr algn="l">
              <a:defRPr sz="700" b="1">
                <a:solidFill>
                  <a:schemeClr val="tx1"/>
                </a:solidFill>
              </a:defRPr>
            </a:lvl1pPr>
          </a:lstStyle>
          <a:p>
            <a:fld id="{AE7ECBEA-7018-44B9-8CB2-B2382497308F}" type="datetime1">
              <a:rPr lang="nb-NO" smtClean="0"/>
              <a:t>13.10.2021</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700"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700" b="1">
                <a:solidFill>
                  <a:schemeClr val="tx1"/>
                </a:solidFill>
              </a:defRPr>
            </a:lvl1pPr>
          </a:lstStyle>
          <a:p>
            <a:fld id="{D8865200-363A-4A27-BFE2-9D2920C8E885}" type="slidenum">
              <a:rPr lang="nb-NO" smtClean="0"/>
              <a:pPr/>
              <a:t>‹#›</a:t>
            </a:fld>
            <a:endParaRPr lang="nb-NO"/>
          </a:p>
        </p:txBody>
      </p:sp>
      <p:pic>
        <p:nvPicPr>
          <p:cNvPr id="8" name="Bilde 7"/>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a:off x="310458" y="283738"/>
            <a:ext cx="423673" cy="505969"/>
          </a:xfrm>
          <a:prstGeom prst="rect">
            <a:avLst/>
          </a:prstGeom>
        </p:spPr>
      </p:pic>
    </p:spTree>
    <p:extLst>
      <p:ext uri="{BB962C8B-B14F-4D97-AF65-F5344CB8AC3E}">
        <p14:creationId xmlns:p14="http://schemas.microsoft.com/office/powerpoint/2010/main" val="809607370"/>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7" r:id="rId5"/>
    <p:sldLayoutId id="2147483788" r:id="rId6"/>
  </p:sldLayoutIdLst>
  <p:hf sldNum="0" hdr="0" ftr="0" dt="0"/>
  <p:txStyles>
    <p:title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p:titleStyle>
    <p:bodyStyle>
      <a:lvl1pPr marL="170272" indent="-170272" algn="l" defTabSz="681091" rtl="0" eaLnBrk="1" latinLnBrk="0" hangingPunct="1">
        <a:lnSpc>
          <a:spcPct val="10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10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10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10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10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1091" rtl="0" eaLnBrk="1" latinLnBrk="0" hangingPunct="1">
        <a:defRPr sz="1300" kern="1200">
          <a:solidFill>
            <a:schemeClr val="tx1"/>
          </a:solidFill>
          <a:latin typeface="+mn-lt"/>
          <a:ea typeface="+mn-ea"/>
          <a:cs typeface="+mn-cs"/>
        </a:defRPr>
      </a:lvl1pPr>
      <a:lvl2pPr marL="340545" algn="l" defTabSz="681091" rtl="0" eaLnBrk="1" latinLnBrk="0" hangingPunct="1">
        <a:defRPr sz="1300" kern="1200">
          <a:solidFill>
            <a:schemeClr val="tx1"/>
          </a:solidFill>
          <a:latin typeface="+mn-lt"/>
          <a:ea typeface="+mn-ea"/>
          <a:cs typeface="+mn-cs"/>
        </a:defRPr>
      </a:lvl2pPr>
      <a:lvl3pPr marL="681091" algn="l" defTabSz="681091" rtl="0" eaLnBrk="1" latinLnBrk="0" hangingPunct="1">
        <a:defRPr sz="1300" kern="1200">
          <a:solidFill>
            <a:schemeClr val="tx1"/>
          </a:solidFill>
          <a:latin typeface="+mn-lt"/>
          <a:ea typeface="+mn-ea"/>
          <a:cs typeface="+mn-cs"/>
        </a:defRPr>
      </a:lvl3pPr>
      <a:lvl4pPr marL="1021636" algn="l" defTabSz="681091" rtl="0" eaLnBrk="1" latinLnBrk="0" hangingPunct="1">
        <a:defRPr sz="1300" kern="1200">
          <a:solidFill>
            <a:schemeClr val="tx1"/>
          </a:solidFill>
          <a:latin typeface="+mn-lt"/>
          <a:ea typeface="+mn-ea"/>
          <a:cs typeface="+mn-cs"/>
        </a:defRPr>
      </a:lvl4pPr>
      <a:lvl5pPr marL="1362183" algn="l" defTabSz="681091" rtl="0" eaLnBrk="1" latinLnBrk="0" hangingPunct="1">
        <a:defRPr sz="1300" kern="1200">
          <a:solidFill>
            <a:schemeClr val="tx1"/>
          </a:solidFill>
          <a:latin typeface="+mn-lt"/>
          <a:ea typeface="+mn-ea"/>
          <a:cs typeface="+mn-cs"/>
        </a:defRPr>
      </a:lvl5pPr>
      <a:lvl6pPr marL="1702727" algn="l" defTabSz="681091" rtl="0" eaLnBrk="1" latinLnBrk="0" hangingPunct="1">
        <a:defRPr sz="1300" kern="1200">
          <a:solidFill>
            <a:schemeClr val="tx1"/>
          </a:solidFill>
          <a:latin typeface="+mn-lt"/>
          <a:ea typeface="+mn-ea"/>
          <a:cs typeface="+mn-cs"/>
        </a:defRPr>
      </a:lvl6pPr>
      <a:lvl7pPr marL="2043272" algn="l" defTabSz="681091" rtl="0" eaLnBrk="1" latinLnBrk="0" hangingPunct="1">
        <a:defRPr sz="1300" kern="1200">
          <a:solidFill>
            <a:schemeClr val="tx1"/>
          </a:solidFill>
          <a:latin typeface="+mn-lt"/>
          <a:ea typeface="+mn-ea"/>
          <a:cs typeface="+mn-cs"/>
        </a:defRPr>
      </a:lvl7pPr>
      <a:lvl8pPr marL="2383818" algn="l" defTabSz="681091" rtl="0" eaLnBrk="1" latinLnBrk="0" hangingPunct="1">
        <a:defRPr sz="1300" kern="1200">
          <a:solidFill>
            <a:schemeClr val="tx1"/>
          </a:solidFill>
          <a:latin typeface="+mn-lt"/>
          <a:ea typeface="+mn-ea"/>
          <a:cs typeface="+mn-cs"/>
        </a:defRPr>
      </a:lvl8pPr>
      <a:lvl9pPr marL="2724363" algn="l" defTabSz="681091" rtl="0" eaLnBrk="1" latinLnBrk="0" hangingPunct="1">
        <a:defRPr sz="13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D27850-7F7C-4B9C-B7E1-012CCD594AFB}"/>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1" name="think-cell Slide" r:id="rId18" imgW="592" imgH="595" progId="TCLayout.ActiveDocument.1">
                  <p:embed/>
                </p:oleObj>
              </mc:Choice>
              <mc:Fallback>
                <p:oleObj name="think-cell Slide" r:id="rId18" imgW="592" imgH="595" progId="TCLayout.ActiveDocument.1">
                  <p:embed/>
                  <p:pic>
                    <p:nvPicPr>
                      <p:cNvPr id="5" name="Object 4" hidden="1">
                        <a:extLst>
                          <a:ext uri="{FF2B5EF4-FFF2-40B4-BE49-F238E27FC236}">
                            <a16:creationId xmlns:a16="http://schemas.microsoft.com/office/drawing/2014/main" id="{C6D27850-7F7C-4B9C-B7E1-012CCD594AFB}"/>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21980" y="1296192"/>
            <a:ext cx="8515018" cy="987421"/>
          </a:xfrm>
          <a:prstGeom prst="rect">
            <a:avLst/>
          </a:prstGeom>
        </p:spPr>
        <p:txBody>
          <a:bodyPr vert="horz"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321980" y="2743688"/>
            <a:ext cx="8515018" cy="2093302"/>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9" name="Bilde 8"/>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288036" y="288037"/>
            <a:ext cx="543600" cy="657234"/>
          </a:xfrm>
          <a:prstGeom prst="rect">
            <a:avLst/>
          </a:prstGeom>
        </p:spPr>
      </p:pic>
    </p:spTree>
    <p:extLst>
      <p:ext uri="{BB962C8B-B14F-4D97-AF65-F5344CB8AC3E}">
        <p14:creationId xmlns:p14="http://schemas.microsoft.com/office/powerpoint/2010/main" val="1264103322"/>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Lst>
  <p:hf sldNum="0" hdr="0" ftr="0"/>
  <p:txStyles>
    <p:titleStyle>
      <a:lvl1pPr algn="l" defTabSz="671624" rtl="0" eaLnBrk="1" latinLnBrk="0" hangingPunct="1">
        <a:lnSpc>
          <a:spcPct val="90000"/>
        </a:lnSpc>
        <a:spcBef>
          <a:spcPct val="0"/>
        </a:spcBef>
        <a:buNone/>
        <a:defRPr sz="3650" b="1" kern="1200">
          <a:solidFill>
            <a:schemeClr val="tx1"/>
          </a:solidFill>
          <a:latin typeface="+mj-lt"/>
          <a:ea typeface="+mj-ea"/>
          <a:cs typeface="+mj-cs"/>
        </a:defRPr>
      </a:lvl1pPr>
    </p:titleStyle>
    <p:bodyStyle>
      <a:lvl1pPr marL="167906" indent="-167906" algn="l" defTabSz="671624" rtl="0" eaLnBrk="1" latinLnBrk="0" hangingPunct="1">
        <a:lnSpc>
          <a:spcPct val="100000"/>
        </a:lnSpc>
        <a:spcBef>
          <a:spcPts val="734"/>
        </a:spcBef>
        <a:buFont typeface="Arial" panose="020B0604020202020204" pitchFamily="34" charset="0"/>
        <a:buChar char="•"/>
        <a:defRPr sz="1788" kern="1200">
          <a:solidFill>
            <a:schemeClr val="tx1"/>
          </a:solidFill>
          <a:latin typeface="+mn-lt"/>
          <a:ea typeface="+mn-ea"/>
          <a:cs typeface="+mn-cs"/>
        </a:defRPr>
      </a:lvl1pPr>
      <a:lvl2pPr marL="503719" indent="-167906" algn="l" defTabSz="671624" rtl="0" eaLnBrk="1" latinLnBrk="0" hangingPunct="1">
        <a:lnSpc>
          <a:spcPct val="100000"/>
        </a:lnSpc>
        <a:spcBef>
          <a:spcPts val="367"/>
        </a:spcBef>
        <a:buFont typeface="Arial" panose="020B0604020202020204" pitchFamily="34" charset="0"/>
        <a:buChar char="•"/>
        <a:defRPr sz="1564" kern="1200">
          <a:solidFill>
            <a:schemeClr val="tx1"/>
          </a:solidFill>
          <a:latin typeface="+mn-lt"/>
          <a:ea typeface="+mn-ea"/>
          <a:cs typeface="+mn-cs"/>
        </a:defRPr>
      </a:lvl2pPr>
      <a:lvl3pPr marL="839530" indent="-167906" algn="l" defTabSz="671624" rtl="0" eaLnBrk="1" latinLnBrk="0" hangingPunct="1">
        <a:lnSpc>
          <a:spcPct val="100000"/>
        </a:lnSpc>
        <a:spcBef>
          <a:spcPts val="367"/>
        </a:spcBef>
        <a:buFont typeface="Arial" panose="020B0604020202020204" pitchFamily="34" charset="0"/>
        <a:buChar char="•"/>
        <a:defRPr sz="1490" kern="1200">
          <a:solidFill>
            <a:schemeClr val="tx1"/>
          </a:solidFill>
          <a:latin typeface="+mn-lt"/>
          <a:ea typeface="+mn-ea"/>
          <a:cs typeface="+mn-cs"/>
        </a:defRPr>
      </a:lvl3pPr>
      <a:lvl4pPr marL="1175342" indent="-167906" algn="l" defTabSz="671624" rtl="0" eaLnBrk="1" latinLnBrk="0" hangingPunct="1">
        <a:lnSpc>
          <a:spcPct val="100000"/>
        </a:lnSpc>
        <a:spcBef>
          <a:spcPts val="367"/>
        </a:spcBef>
        <a:buFont typeface="Arial" panose="020B0604020202020204" pitchFamily="34" charset="0"/>
        <a:buChar char="•"/>
        <a:defRPr sz="1266" kern="1200">
          <a:solidFill>
            <a:schemeClr val="tx1"/>
          </a:solidFill>
          <a:latin typeface="+mn-lt"/>
          <a:ea typeface="+mn-ea"/>
          <a:cs typeface="+mn-cs"/>
        </a:defRPr>
      </a:lvl4pPr>
      <a:lvl5pPr marL="1511155" indent="-167906" algn="l" defTabSz="671624" rtl="0" eaLnBrk="1" latinLnBrk="0" hangingPunct="1">
        <a:lnSpc>
          <a:spcPct val="100000"/>
        </a:lnSpc>
        <a:spcBef>
          <a:spcPts val="367"/>
        </a:spcBef>
        <a:buFont typeface="Arial" panose="020B0604020202020204" pitchFamily="34" charset="0"/>
        <a:buChar char="•"/>
        <a:defRPr sz="1192" kern="1200">
          <a:solidFill>
            <a:schemeClr val="tx1"/>
          </a:solidFill>
          <a:latin typeface="+mn-lt"/>
          <a:ea typeface="+mn-ea"/>
          <a:cs typeface="+mn-cs"/>
        </a:defRPr>
      </a:lvl5pPr>
      <a:lvl6pPr marL="1846967" indent="-167906" algn="l" defTabSz="671624" rtl="0" eaLnBrk="1" latinLnBrk="0" hangingPunct="1">
        <a:lnSpc>
          <a:spcPct val="90000"/>
        </a:lnSpc>
        <a:spcBef>
          <a:spcPts val="367"/>
        </a:spcBef>
        <a:buFont typeface="Arial" panose="020B0604020202020204" pitchFamily="34" charset="0"/>
        <a:buChar char="•"/>
        <a:defRPr sz="1266" kern="1200">
          <a:solidFill>
            <a:schemeClr val="tx1"/>
          </a:solidFill>
          <a:latin typeface="+mn-lt"/>
          <a:ea typeface="+mn-ea"/>
          <a:cs typeface="+mn-cs"/>
        </a:defRPr>
      </a:lvl6pPr>
      <a:lvl7pPr marL="2182780" indent="-167906" algn="l" defTabSz="671624" rtl="0" eaLnBrk="1" latinLnBrk="0" hangingPunct="1">
        <a:lnSpc>
          <a:spcPct val="90000"/>
        </a:lnSpc>
        <a:spcBef>
          <a:spcPts val="367"/>
        </a:spcBef>
        <a:buFont typeface="Arial" panose="020B0604020202020204" pitchFamily="34" charset="0"/>
        <a:buChar char="•"/>
        <a:defRPr sz="1266" kern="1200">
          <a:solidFill>
            <a:schemeClr val="tx1"/>
          </a:solidFill>
          <a:latin typeface="+mn-lt"/>
          <a:ea typeface="+mn-ea"/>
          <a:cs typeface="+mn-cs"/>
        </a:defRPr>
      </a:lvl7pPr>
      <a:lvl8pPr marL="2518592" indent="-167906" algn="l" defTabSz="671624" rtl="0" eaLnBrk="1" latinLnBrk="0" hangingPunct="1">
        <a:lnSpc>
          <a:spcPct val="90000"/>
        </a:lnSpc>
        <a:spcBef>
          <a:spcPts val="367"/>
        </a:spcBef>
        <a:buFont typeface="Arial" panose="020B0604020202020204" pitchFamily="34" charset="0"/>
        <a:buChar char="•"/>
        <a:defRPr sz="1266" kern="1200">
          <a:solidFill>
            <a:schemeClr val="tx1"/>
          </a:solidFill>
          <a:latin typeface="+mn-lt"/>
          <a:ea typeface="+mn-ea"/>
          <a:cs typeface="+mn-cs"/>
        </a:defRPr>
      </a:lvl8pPr>
      <a:lvl9pPr marL="2854403" indent="-167906" algn="l" defTabSz="671624" rtl="0" eaLnBrk="1" latinLnBrk="0" hangingPunct="1">
        <a:lnSpc>
          <a:spcPct val="90000"/>
        </a:lnSpc>
        <a:spcBef>
          <a:spcPts val="367"/>
        </a:spcBef>
        <a:buFont typeface="Arial" panose="020B0604020202020204" pitchFamily="34" charset="0"/>
        <a:buChar char="•"/>
        <a:defRPr sz="1266" kern="1200">
          <a:solidFill>
            <a:schemeClr val="tx1"/>
          </a:solidFill>
          <a:latin typeface="+mn-lt"/>
          <a:ea typeface="+mn-ea"/>
          <a:cs typeface="+mn-cs"/>
        </a:defRPr>
      </a:lvl9pPr>
    </p:bodyStyle>
    <p:otherStyle>
      <a:defPPr>
        <a:defRPr lang="en-US"/>
      </a:defPPr>
      <a:lvl1pPr marL="0" algn="l" defTabSz="671624" rtl="0" eaLnBrk="1" latinLnBrk="0" hangingPunct="1">
        <a:defRPr sz="1266" kern="1200">
          <a:solidFill>
            <a:schemeClr val="tx1"/>
          </a:solidFill>
          <a:latin typeface="+mn-lt"/>
          <a:ea typeface="+mn-ea"/>
          <a:cs typeface="+mn-cs"/>
        </a:defRPr>
      </a:lvl1pPr>
      <a:lvl2pPr marL="335811" algn="l" defTabSz="671624" rtl="0" eaLnBrk="1" latinLnBrk="0" hangingPunct="1">
        <a:defRPr sz="1266" kern="1200">
          <a:solidFill>
            <a:schemeClr val="tx1"/>
          </a:solidFill>
          <a:latin typeface="+mn-lt"/>
          <a:ea typeface="+mn-ea"/>
          <a:cs typeface="+mn-cs"/>
        </a:defRPr>
      </a:lvl2pPr>
      <a:lvl3pPr marL="671624" algn="l" defTabSz="671624" rtl="0" eaLnBrk="1" latinLnBrk="0" hangingPunct="1">
        <a:defRPr sz="1266" kern="1200">
          <a:solidFill>
            <a:schemeClr val="tx1"/>
          </a:solidFill>
          <a:latin typeface="+mn-lt"/>
          <a:ea typeface="+mn-ea"/>
          <a:cs typeface="+mn-cs"/>
        </a:defRPr>
      </a:lvl3pPr>
      <a:lvl4pPr marL="1007436" algn="l" defTabSz="671624" rtl="0" eaLnBrk="1" latinLnBrk="0" hangingPunct="1">
        <a:defRPr sz="1266" kern="1200">
          <a:solidFill>
            <a:schemeClr val="tx1"/>
          </a:solidFill>
          <a:latin typeface="+mn-lt"/>
          <a:ea typeface="+mn-ea"/>
          <a:cs typeface="+mn-cs"/>
        </a:defRPr>
      </a:lvl4pPr>
      <a:lvl5pPr marL="1343250" algn="l" defTabSz="671624" rtl="0" eaLnBrk="1" latinLnBrk="0" hangingPunct="1">
        <a:defRPr sz="1266" kern="1200">
          <a:solidFill>
            <a:schemeClr val="tx1"/>
          </a:solidFill>
          <a:latin typeface="+mn-lt"/>
          <a:ea typeface="+mn-ea"/>
          <a:cs typeface="+mn-cs"/>
        </a:defRPr>
      </a:lvl5pPr>
      <a:lvl6pPr marL="1679060" algn="l" defTabSz="671624" rtl="0" eaLnBrk="1" latinLnBrk="0" hangingPunct="1">
        <a:defRPr sz="1266" kern="1200">
          <a:solidFill>
            <a:schemeClr val="tx1"/>
          </a:solidFill>
          <a:latin typeface="+mn-lt"/>
          <a:ea typeface="+mn-ea"/>
          <a:cs typeface="+mn-cs"/>
        </a:defRPr>
      </a:lvl6pPr>
      <a:lvl7pPr marL="2014873" algn="l" defTabSz="671624" rtl="0" eaLnBrk="1" latinLnBrk="0" hangingPunct="1">
        <a:defRPr sz="1266" kern="1200">
          <a:solidFill>
            <a:schemeClr val="tx1"/>
          </a:solidFill>
          <a:latin typeface="+mn-lt"/>
          <a:ea typeface="+mn-ea"/>
          <a:cs typeface="+mn-cs"/>
        </a:defRPr>
      </a:lvl7pPr>
      <a:lvl8pPr marL="2350685" algn="l" defTabSz="671624" rtl="0" eaLnBrk="1" latinLnBrk="0" hangingPunct="1">
        <a:defRPr sz="1266" kern="1200">
          <a:solidFill>
            <a:schemeClr val="tx1"/>
          </a:solidFill>
          <a:latin typeface="+mn-lt"/>
          <a:ea typeface="+mn-ea"/>
          <a:cs typeface="+mn-cs"/>
        </a:defRPr>
      </a:lvl8pPr>
      <a:lvl9pPr marL="2686497" algn="l" defTabSz="671624" rtl="0" eaLnBrk="1" latinLnBrk="0" hangingPunct="1">
        <a:defRPr sz="126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036" y="1263758"/>
            <a:ext cx="8365168" cy="512448"/>
          </a:xfrm>
          <a:prstGeom prst="rect">
            <a:avLst/>
          </a:prstGeom>
        </p:spPr>
        <p:txBody>
          <a:bodyPr vert="horz" wrap="square"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288036" y="1980248"/>
            <a:ext cx="8371046" cy="2772346"/>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4" y="268201"/>
            <a:ext cx="670791" cy="268200"/>
          </a:xfrm>
          <a:prstGeom prst="rect">
            <a:avLst/>
          </a:prstGeom>
        </p:spPr>
        <p:txBody>
          <a:bodyPr vert="horz" lIns="0" tIns="0" rIns="0" bIns="0" rtlCol="0" anchor="t" anchorCtr="0">
            <a:normAutofit/>
          </a:bodyPr>
          <a:lstStyle>
            <a:lvl1pPr algn="l">
              <a:defRPr sz="695" b="1">
                <a:solidFill>
                  <a:schemeClr val="tx1"/>
                </a:solidFill>
              </a:defRPr>
            </a:lvl1pPr>
          </a:lstStyle>
          <a:p>
            <a:fld id="{205AAB6B-C8DC-467C-B8C5-F1ADB02BF221}" type="datetime1">
              <a:rPr lang="nb-NO" smtClean="0"/>
              <a:t>13.10.2021</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695"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695" b="1">
                <a:solidFill>
                  <a:schemeClr val="tx1"/>
                </a:solidFill>
              </a:defRPr>
            </a:lvl1pPr>
          </a:lstStyle>
          <a:p>
            <a:fld id="{D8865200-363A-4A27-BFE2-9D2920C8E885}" type="slidenum">
              <a:rPr lang="nb-NO" smtClean="0"/>
              <a:pPr/>
              <a:t>‹#›</a:t>
            </a:fld>
            <a:endParaRPr lang="nb-NO"/>
          </a:p>
        </p:txBody>
      </p:sp>
      <p:grpSp>
        <p:nvGrpSpPr>
          <p:cNvPr id="156" name="prosses2" hidden="1"/>
          <p:cNvGrpSpPr>
            <a:grpSpLocks noChangeAspect="1"/>
          </p:cNvGrpSpPr>
          <p:nvPr userDrawn="1"/>
        </p:nvGrpSpPr>
        <p:grpSpPr bwMode="auto">
          <a:xfrm>
            <a:off x="3326607" y="1307523"/>
            <a:ext cx="2492375" cy="2493531"/>
            <a:chOff x="1310" y="590"/>
            <a:chExt cx="3140" cy="3140"/>
          </a:xfrm>
        </p:grpSpPr>
        <p:sp>
          <p:nvSpPr>
            <p:cNvPr id="294" name="Freeform 63"/>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5" name="Freeform 64"/>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6" name="Freeform 65"/>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7" name="Freeform 66"/>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8" name="Freeform 67"/>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9" name="Rectangle 68"/>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1</a:t>
              </a:r>
              <a:endParaRPr lang="en-US" altLang="en-US" sz="894">
                <a:latin typeface="Arial" panose="020B0604020202020204" pitchFamily="34" charset="0"/>
              </a:endParaRPr>
            </a:p>
          </p:txBody>
        </p:sp>
        <p:sp>
          <p:nvSpPr>
            <p:cNvPr id="300" name="Rectangle 69"/>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2</a:t>
              </a:r>
              <a:endParaRPr lang="en-US" altLang="en-US" sz="894">
                <a:latin typeface="Arial" panose="020B0604020202020204" pitchFamily="34" charset="0"/>
              </a:endParaRPr>
            </a:p>
          </p:txBody>
        </p:sp>
        <p:sp>
          <p:nvSpPr>
            <p:cNvPr id="301" name="Rectangle 70"/>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4</a:t>
              </a:r>
              <a:endParaRPr lang="en-US" altLang="en-US" sz="894">
                <a:latin typeface="Arial" panose="020B0604020202020204" pitchFamily="34" charset="0"/>
              </a:endParaRPr>
            </a:p>
          </p:txBody>
        </p:sp>
        <p:sp>
          <p:nvSpPr>
            <p:cNvPr id="302" name="Rectangle 71"/>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3</a:t>
              </a:r>
              <a:endParaRPr lang="en-US" altLang="en-US" sz="894">
                <a:latin typeface="Arial" panose="020B0604020202020204" pitchFamily="34" charset="0"/>
              </a:endParaRPr>
            </a:p>
          </p:txBody>
        </p:sp>
      </p:grpSp>
      <p:grpSp>
        <p:nvGrpSpPr>
          <p:cNvPr id="157" name="prosses3" hidden="1"/>
          <p:cNvGrpSpPr>
            <a:grpSpLocks noChangeAspect="1"/>
          </p:cNvGrpSpPr>
          <p:nvPr userDrawn="1"/>
        </p:nvGrpSpPr>
        <p:grpSpPr bwMode="auto">
          <a:xfrm>
            <a:off x="3176986" y="1194761"/>
            <a:ext cx="2791618" cy="2719054"/>
            <a:chOff x="1125" y="481"/>
            <a:chExt cx="3517" cy="3424"/>
          </a:xfrm>
        </p:grpSpPr>
        <p:sp>
          <p:nvSpPr>
            <p:cNvPr id="285" name="Rectangle 75"/>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2</a:t>
              </a:r>
              <a:endParaRPr lang="en-US" altLang="en-US" sz="894">
                <a:latin typeface="Arial" panose="020B0604020202020204" pitchFamily="34" charset="0"/>
              </a:endParaRPr>
            </a:p>
          </p:txBody>
        </p:sp>
        <p:sp>
          <p:nvSpPr>
            <p:cNvPr id="286" name="Rectangle 76"/>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a:solidFill>
                    <a:srgbClr val="010101"/>
                  </a:solidFill>
                  <a:latin typeface="Arial" panose="020B0604020202020204" pitchFamily="34" charset="0"/>
                </a:rPr>
                <a:t>prosseshjulet om.</a:t>
              </a:r>
              <a:endParaRPr lang="en-US" altLang="en-US" sz="695">
                <a:latin typeface="Arial" panose="020B0604020202020204" pitchFamily="34" charset="0"/>
              </a:endParaRPr>
            </a:p>
          </p:txBody>
        </p:sp>
        <p:sp>
          <p:nvSpPr>
            <p:cNvPr id="287" name="Rectangle 78"/>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1</a:t>
              </a:r>
              <a:endParaRPr lang="en-US" altLang="en-US" sz="894">
                <a:latin typeface="Arial" panose="020B0604020202020204" pitchFamily="34" charset="0"/>
              </a:endParaRPr>
            </a:p>
          </p:txBody>
        </p:sp>
        <p:sp>
          <p:nvSpPr>
            <p:cNvPr id="288" name="Rectangle 79"/>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a:solidFill>
                    <a:srgbClr val="010101"/>
                  </a:solidFill>
                  <a:latin typeface="Arial" panose="020B0604020202020204" pitchFamily="34" charset="0"/>
                </a:rPr>
                <a:t>prosseshjulet om.</a:t>
              </a:r>
              <a:endParaRPr lang="en-US" altLang="en-US" sz="695">
                <a:latin typeface="Arial" panose="020B0604020202020204" pitchFamily="34" charset="0"/>
              </a:endParaRPr>
            </a:p>
          </p:txBody>
        </p:sp>
        <p:sp>
          <p:nvSpPr>
            <p:cNvPr id="289" name="Rectangle 81"/>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3</a:t>
              </a:r>
              <a:endParaRPr lang="en-US" altLang="en-US" sz="894">
                <a:latin typeface="Arial" panose="020B0604020202020204" pitchFamily="34" charset="0"/>
              </a:endParaRPr>
            </a:p>
          </p:txBody>
        </p:sp>
        <p:sp>
          <p:nvSpPr>
            <p:cNvPr id="290" name="Rectangle 82"/>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a:solidFill>
                    <a:srgbClr val="010101"/>
                  </a:solidFill>
                  <a:latin typeface="Arial" panose="020B0604020202020204" pitchFamily="34" charset="0"/>
                </a:rPr>
                <a:t>prosseshjulet om.</a:t>
              </a:r>
              <a:endParaRPr lang="en-US" altLang="en-US" sz="695">
                <a:latin typeface="Arial" panose="020B0604020202020204" pitchFamily="34" charset="0"/>
              </a:endParaRPr>
            </a:p>
          </p:txBody>
        </p:sp>
        <p:sp>
          <p:nvSpPr>
            <p:cNvPr id="291" name="Freeform 84"/>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2" name="Freeform 85"/>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3" name="Freeform 86"/>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58" name="prosses5" hidden="1"/>
          <p:cNvGrpSpPr>
            <a:grpSpLocks noChangeAspect="1"/>
          </p:cNvGrpSpPr>
          <p:nvPr userDrawn="1"/>
        </p:nvGrpSpPr>
        <p:grpSpPr bwMode="auto">
          <a:xfrm>
            <a:off x="2987675" y="1254317"/>
            <a:ext cx="3170240" cy="2599940"/>
            <a:chOff x="885" y="514"/>
            <a:chExt cx="3994" cy="3274"/>
          </a:xfrm>
        </p:grpSpPr>
        <p:sp>
          <p:nvSpPr>
            <p:cNvPr id="273" name="Freeform 133"/>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74" name="Freeform 134"/>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75" name="Freeform 135"/>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76" name="Freeform 136"/>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77" name="Rectangle 137"/>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1</a:t>
              </a:r>
              <a:endParaRPr lang="en-US" altLang="en-US" sz="894">
                <a:latin typeface="Arial" panose="020B0604020202020204" pitchFamily="34" charset="0"/>
              </a:endParaRPr>
            </a:p>
          </p:txBody>
        </p:sp>
        <p:sp>
          <p:nvSpPr>
            <p:cNvPr id="278" name="Rectangle 138"/>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sp>
          <p:nvSpPr>
            <p:cNvPr id="279" name="Rectangle 140"/>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4</a:t>
              </a:r>
              <a:endParaRPr lang="en-US" altLang="en-US" sz="894">
                <a:latin typeface="Arial" panose="020B0604020202020204" pitchFamily="34" charset="0"/>
              </a:endParaRPr>
            </a:p>
          </p:txBody>
        </p:sp>
        <p:sp>
          <p:nvSpPr>
            <p:cNvPr id="280" name="Rectangle 141"/>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sp>
          <p:nvSpPr>
            <p:cNvPr id="281" name="Rectangle 143"/>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2</a:t>
              </a:r>
              <a:endParaRPr lang="en-US" altLang="en-US" sz="894">
                <a:latin typeface="Arial" panose="020B0604020202020204" pitchFamily="34" charset="0"/>
              </a:endParaRPr>
            </a:p>
          </p:txBody>
        </p:sp>
        <p:sp>
          <p:nvSpPr>
            <p:cNvPr id="282" name="Rectangle 144"/>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sp>
          <p:nvSpPr>
            <p:cNvPr id="283" name="Rectangle 146"/>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3</a:t>
              </a:r>
              <a:endParaRPr lang="en-US" altLang="en-US" sz="894">
                <a:latin typeface="Arial" panose="020B0604020202020204" pitchFamily="34" charset="0"/>
              </a:endParaRPr>
            </a:p>
          </p:txBody>
        </p:sp>
        <p:sp>
          <p:nvSpPr>
            <p:cNvPr id="284" name="Rectangle 147"/>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grpSp>
      <p:grpSp>
        <p:nvGrpSpPr>
          <p:cNvPr id="159" name="prosses6" hidden="1"/>
          <p:cNvGrpSpPr>
            <a:grpSpLocks noChangeAspect="1"/>
          </p:cNvGrpSpPr>
          <p:nvPr userDrawn="1"/>
        </p:nvGrpSpPr>
        <p:grpSpPr bwMode="auto">
          <a:xfrm>
            <a:off x="2974181" y="954935"/>
            <a:ext cx="3197226" cy="3198706"/>
            <a:chOff x="865" y="145"/>
            <a:chExt cx="4028" cy="4028"/>
          </a:xfrm>
        </p:grpSpPr>
        <p:sp>
          <p:nvSpPr>
            <p:cNvPr id="258" name="Freeform 152"/>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59" name="Freeform 153"/>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60" name="Freeform 154"/>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61" name="Freeform 155"/>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62" name="Freeform 156"/>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63" name="Rectangle 157"/>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1</a:t>
              </a:r>
              <a:endParaRPr lang="en-US" altLang="en-US" sz="894">
                <a:latin typeface="Arial" panose="020B0604020202020204" pitchFamily="34" charset="0"/>
              </a:endParaRPr>
            </a:p>
          </p:txBody>
        </p:sp>
        <p:sp>
          <p:nvSpPr>
            <p:cNvPr id="264" name="Rectangle 158"/>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sp>
          <p:nvSpPr>
            <p:cNvPr id="265" name="Rectangle 159"/>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2</a:t>
              </a:r>
              <a:endParaRPr lang="en-US" altLang="en-US" sz="894">
                <a:latin typeface="Arial" panose="020B0604020202020204" pitchFamily="34" charset="0"/>
              </a:endParaRPr>
            </a:p>
          </p:txBody>
        </p:sp>
        <p:sp>
          <p:nvSpPr>
            <p:cNvPr id="266" name="Rectangle 160"/>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sp>
          <p:nvSpPr>
            <p:cNvPr id="267" name="Rectangle 161"/>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3</a:t>
              </a:r>
              <a:endParaRPr lang="en-US" altLang="en-US" sz="894">
                <a:latin typeface="Arial" panose="020B0604020202020204" pitchFamily="34" charset="0"/>
              </a:endParaRPr>
            </a:p>
          </p:txBody>
        </p:sp>
        <p:sp>
          <p:nvSpPr>
            <p:cNvPr id="268" name="Rectangle 162"/>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sp>
          <p:nvSpPr>
            <p:cNvPr id="269" name="Rectangle 163"/>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4</a:t>
              </a:r>
              <a:endParaRPr lang="en-US" altLang="en-US" sz="894">
                <a:latin typeface="Arial" panose="020B0604020202020204" pitchFamily="34" charset="0"/>
              </a:endParaRPr>
            </a:p>
          </p:txBody>
        </p:sp>
        <p:sp>
          <p:nvSpPr>
            <p:cNvPr id="270" name="Rectangle 164"/>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sp>
          <p:nvSpPr>
            <p:cNvPr id="271" name="Rectangle 165"/>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5</a:t>
              </a:r>
              <a:endParaRPr lang="en-US" altLang="en-US" sz="894">
                <a:latin typeface="Arial" panose="020B0604020202020204" pitchFamily="34" charset="0"/>
              </a:endParaRPr>
            </a:p>
          </p:txBody>
        </p:sp>
        <p:sp>
          <p:nvSpPr>
            <p:cNvPr id="272" name="Rectangle 166"/>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grpSp>
      <p:grpSp>
        <p:nvGrpSpPr>
          <p:cNvPr id="161" name="hus" hidden="1"/>
          <p:cNvGrpSpPr>
            <a:grpSpLocks noChangeAspect="1"/>
          </p:cNvGrpSpPr>
          <p:nvPr userDrawn="1"/>
        </p:nvGrpSpPr>
        <p:grpSpPr bwMode="auto">
          <a:xfrm>
            <a:off x="3996532" y="1927729"/>
            <a:ext cx="1152526" cy="1253118"/>
            <a:chOff x="2154" y="1370"/>
            <a:chExt cx="1452" cy="1578"/>
          </a:xfrm>
        </p:grpSpPr>
        <p:sp>
          <p:nvSpPr>
            <p:cNvPr id="219" name="Freeform 189"/>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0" name="Freeform 190"/>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1" name="Freeform 191"/>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2" name="Freeform 192"/>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3" name="Freeform 193"/>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4" name="Freeform 194"/>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5" name="Freeform 195"/>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6" name="Freeform 196"/>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7" name="Freeform 197"/>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8" name="Freeform 198"/>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9" name="Freeform 199"/>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0" name="Freeform 200"/>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1" name="Freeform 201"/>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2" name="Freeform 202"/>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3" name="Freeform 203"/>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4" name="Freeform 204"/>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5" name="Freeform 205"/>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6" name="Freeform 206"/>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7" name="Freeform 207"/>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8" name="Freeform 208"/>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9" name="Freeform 209"/>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40" name="Freeform 210"/>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41" name="Freeform 211"/>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62" name="app" hidden="1"/>
          <p:cNvGrpSpPr>
            <a:grpSpLocks noChangeAspect="1"/>
          </p:cNvGrpSpPr>
          <p:nvPr userDrawn="1"/>
        </p:nvGrpSpPr>
        <p:grpSpPr bwMode="auto">
          <a:xfrm>
            <a:off x="4197350" y="1946788"/>
            <a:ext cx="750888" cy="1215000"/>
            <a:chOff x="2407" y="1397"/>
            <a:chExt cx="946" cy="1530"/>
          </a:xfrm>
        </p:grpSpPr>
        <p:sp>
          <p:nvSpPr>
            <p:cNvPr id="215" name="Freeform 215"/>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6" name="Rectangle 216"/>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7" name="Oval 217"/>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8" name="Freeform 218"/>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63" name="person" hidden="1"/>
          <p:cNvGrpSpPr>
            <a:grpSpLocks noChangeAspect="1"/>
          </p:cNvGrpSpPr>
          <p:nvPr userDrawn="1"/>
        </p:nvGrpSpPr>
        <p:grpSpPr bwMode="auto">
          <a:xfrm>
            <a:off x="4187825" y="2047639"/>
            <a:ext cx="769938" cy="1013296"/>
            <a:chOff x="2395" y="1524"/>
            <a:chExt cx="970" cy="1276"/>
          </a:xfrm>
        </p:grpSpPr>
        <p:sp>
          <p:nvSpPr>
            <p:cNvPr id="211" name="Freeform 222"/>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2" name="Freeform 223"/>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3" name="Oval 224"/>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4" name="Freeform 225"/>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64" name="person_slips" hidden="1"/>
          <p:cNvGrpSpPr>
            <a:grpSpLocks noChangeAspect="1"/>
          </p:cNvGrpSpPr>
          <p:nvPr userDrawn="1"/>
        </p:nvGrpSpPr>
        <p:grpSpPr bwMode="auto">
          <a:xfrm>
            <a:off x="4187428" y="2047639"/>
            <a:ext cx="770732" cy="1013296"/>
            <a:chOff x="460" y="1095"/>
            <a:chExt cx="971" cy="1276"/>
          </a:xfrm>
        </p:grpSpPr>
        <p:sp>
          <p:nvSpPr>
            <p:cNvPr id="206" name="Freeform 229"/>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7" name="Freeform 230"/>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8" name="Oval 231"/>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9" name="Freeform 232"/>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0" name="Freeform 233"/>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65" name="gruppe" hidden="1"/>
          <p:cNvGrpSpPr>
            <a:grpSpLocks noChangeAspect="1"/>
          </p:cNvGrpSpPr>
          <p:nvPr userDrawn="1"/>
        </p:nvGrpSpPr>
        <p:grpSpPr bwMode="auto">
          <a:xfrm>
            <a:off x="3754437" y="1953140"/>
            <a:ext cx="1636715" cy="1202296"/>
            <a:chOff x="1847" y="1404"/>
            <a:chExt cx="2062" cy="1514"/>
          </a:xfrm>
        </p:grpSpPr>
        <p:sp>
          <p:nvSpPr>
            <p:cNvPr id="194" name="Freeform 237"/>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5" name="Freeform 238"/>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6" name="Oval 239"/>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7" name="Freeform 240"/>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8" name="Freeform 241"/>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9" name="Freeform 242"/>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0" name="Oval 243"/>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1" name="Freeform 244"/>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2" name="Freeform 245"/>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3" name="Freeform 246"/>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4" name="Oval 247"/>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5" name="Freeform 248"/>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sp>
        <p:nvSpPr>
          <p:cNvPr id="166" name="pilhoyre" hidden="1"/>
          <p:cNvSpPr>
            <a:spLocks/>
          </p:cNvSpPr>
          <p:nvPr userDrawn="1"/>
        </p:nvSpPr>
        <p:spPr bwMode="auto">
          <a:xfrm>
            <a:off x="4123135" y="2319229"/>
            <a:ext cx="899319" cy="470118"/>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67" name="pilvenstre" hidden="1"/>
          <p:cNvSpPr>
            <a:spLocks/>
          </p:cNvSpPr>
          <p:nvPr userDrawn="1"/>
        </p:nvSpPr>
        <p:spPr bwMode="auto">
          <a:xfrm>
            <a:off x="4123135" y="2319229"/>
            <a:ext cx="899319" cy="470118"/>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68" name="pilopp" hidden="1"/>
          <p:cNvSpPr>
            <a:spLocks/>
          </p:cNvSpPr>
          <p:nvPr userDrawn="1"/>
        </p:nvSpPr>
        <p:spPr bwMode="auto">
          <a:xfrm>
            <a:off x="4339035" y="2101244"/>
            <a:ext cx="467519" cy="906088"/>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69" name="pilned" hidden="1"/>
          <p:cNvSpPr>
            <a:spLocks/>
          </p:cNvSpPr>
          <p:nvPr userDrawn="1"/>
        </p:nvSpPr>
        <p:spPr bwMode="auto">
          <a:xfrm>
            <a:off x="4339035" y="2102038"/>
            <a:ext cx="467519" cy="904500"/>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nvGrpSpPr>
          <p:cNvPr id="170" name="prosses4" hidden="1"/>
          <p:cNvGrpSpPr/>
          <p:nvPr userDrawn="1"/>
        </p:nvGrpSpPr>
        <p:grpSpPr>
          <a:xfrm>
            <a:off x="3190168" y="1183991"/>
            <a:ext cx="2765252" cy="2740592"/>
            <a:chOff x="1949529" y="751583"/>
            <a:chExt cx="5530502" cy="5478645"/>
          </a:xfrm>
        </p:grpSpPr>
        <p:grpSp>
          <p:nvGrpSpPr>
            <p:cNvPr id="185" name="prosses4"/>
            <p:cNvGrpSpPr>
              <a:grpSpLocks noChangeAspect="1"/>
            </p:cNvGrpSpPr>
            <p:nvPr userDrawn="1"/>
          </p:nvGrpSpPr>
          <p:grpSpPr bwMode="auto">
            <a:xfrm>
              <a:off x="2255718" y="976312"/>
              <a:ext cx="4897441" cy="4897438"/>
              <a:chOff x="1336" y="615"/>
              <a:chExt cx="3085" cy="3085"/>
            </a:xfrm>
          </p:grpSpPr>
          <p:sp>
            <p:nvSpPr>
              <p:cNvPr id="190" name="Freeform 90"/>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1" name="Freeform 91"/>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2" name="Freeform 92"/>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3" name="Freeform 93"/>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sp>
          <p:nvSpPr>
            <p:cNvPr id="186" name="TekstSylinder 221"/>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t>Argument 1</a:t>
              </a:r>
              <a:endParaRPr lang="en-GB" sz="794" b="1" cap="all"/>
            </a:p>
          </p:txBody>
        </p:sp>
        <p:sp>
          <p:nvSpPr>
            <p:cNvPr id="187" name="TekstSylinder 227"/>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t>Argument 2</a:t>
              </a:r>
              <a:endParaRPr lang="en-GB" sz="794" b="1" cap="all"/>
            </a:p>
          </p:txBody>
        </p:sp>
        <p:sp>
          <p:nvSpPr>
            <p:cNvPr id="188" name="TekstSylinder 234"/>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t>Argument 3</a:t>
              </a:r>
              <a:endParaRPr lang="en-GB" sz="794" b="1" cap="all"/>
            </a:p>
          </p:txBody>
        </p:sp>
        <p:sp>
          <p:nvSpPr>
            <p:cNvPr id="189" name="TekstSylinder 242"/>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t>Argument 4</a:t>
              </a:r>
              <a:endParaRPr lang="en-GB" sz="794" b="1" cap="all"/>
            </a:p>
          </p:txBody>
        </p:sp>
      </p:grpSp>
      <p:grpSp>
        <p:nvGrpSpPr>
          <p:cNvPr id="171" name="prosses1" hidden="1"/>
          <p:cNvGrpSpPr/>
          <p:nvPr userDrawn="1"/>
        </p:nvGrpSpPr>
        <p:grpSpPr>
          <a:xfrm>
            <a:off x="3213895" y="1200715"/>
            <a:ext cx="2717801" cy="2707147"/>
            <a:chOff x="1865313" y="727076"/>
            <a:chExt cx="5435600" cy="5411787"/>
          </a:xfrm>
        </p:grpSpPr>
        <p:grpSp>
          <p:nvGrpSpPr>
            <p:cNvPr id="172" name="prosses1"/>
            <p:cNvGrpSpPr/>
            <p:nvPr userDrawn="1"/>
          </p:nvGrpSpPr>
          <p:grpSpPr>
            <a:xfrm>
              <a:off x="1865313" y="727076"/>
              <a:ext cx="5435600" cy="5411787"/>
              <a:chOff x="1865313" y="727076"/>
              <a:chExt cx="5435600" cy="5411787"/>
            </a:xfrm>
          </p:grpSpPr>
          <p:sp>
            <p:nvSpPr>
              <p:cNvPr id="178" name="Freeform 5"/>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79" name="Freeform 6"/>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80" name="Freeform 7"/>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81" name="Freeform 8"/>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82" name="Freeform 9"/>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83" name="Rectangle 56"/>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defTabSz="454011" eaLnBrk="0" fontAlgn="base" hangingPunct="0">
                  <a:spcBef>
                    <a:spcPct val="0"/>
                  </a:spcBef>
                  <a:spcAft>
                    <a:spcPct val="0"/>
                  </a:spcAft>
                </a:pPr>
                <a:r>
                  <a:rPr lang="en-US" altLang="en-US" sz="1390" b="1">
                    <a:solidFill>
                      <a:srgbClr val="010101"/>
                    </a:solidFill>
                    <a:latin typeface="Arial" panose="020B0604020202020204" pitchFamily="34" charset="0"/>
                  </a:rPr>
                  <a:t>Tittel</a:t>
                </a:r>
                <a:endParaRPr lang="en-US" altLang="en-US" sz="894">
                  <a:latin typeface="Arial" panose="020B0604020202020204" pitchFamily="34" charset="0"/>
                </a:endParaRPr>
              </a:p>
            </p:txBody>
          </p:sp>
          <p:sp>
            <p:nvSpPr>
              <p:cNvPr id="184" name="Rectangle 58"/>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894">
                    <a:solidFill>
                      <a:srgbClr val="010101"/>
                    </a:solidFill>
                    <a:latin typeface="Arial" panose="020B0604020202020204" pitchFamily="34" charset="0"/>
                  </a:rPr>
                  <a:t>Hva handler dette</a:t>
                </a:r>
                <a:br>
                  <a:rPr lang="en-US" altLang="en-US" sz="894">
                    <a:solidFill>
                      <a:srgbClr val="010101"/>
                    </a:solidFill>
                    <a:latin typeface="Arial" panose="020B0604020202020204" pitchFamily="34" charset="0"/>
                  </a:rPr>
                </a:br>
                <a:r>
                  <a:rPr lang="en-US" altLang="en-US" sz="894">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grpSp>
        <p:sp>
          <p:nvSpPr>
            <p:cNvPr id="173" name="TekstSylinder 244"/>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1</a:t>
              </a:r>
              <a:endParaRPr lang="en-GB" sz="794" b="1" cap="all">
                <a:solidFill>
                  <a:schemeClr val="bg1"/>
                </a:solidFill>
              </a:endParaRPr>
            </a:p>
          </p:txBody>
        </p:sp>
        <p:sp>
          <p:nvSpPr>
            <p:cNvPr id="174" name="TekstSylinder 264"/>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2</a:t>
              </a:r>
              <a:endParaRPr lang="en-GB" sz="794" b="1" cap="all">
                <a:solidFill>
                  <a:schemeClr val="bg1"/>
                </a:solidFill>
              </a:endParaRPr>
            </a:p>
          </p:txBody>
        </p:sp>
        <p:sp>
          <p:nvSpPr>
            <p:cNvPr id="175" name="TekstSylinder 265"/>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3</a:t>
              </a:r>
              <a:endParaRPr lang="en-GB" sz="794" b="1" cap="all">
                <a:solidFill>
                  <a:schemeClr val="bg1"/>
                </a:solidFill>
              </a:endParaRPr>
            </a:p>
          </p:txBody>
        </p:sp>
        <p:sp>
          <p:nvSpPr>
            <p:cNvPr id="176" name="TekstSylinder 266"/>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4</a:t>
              </a:r>
              <a:endParaRPr lang="en-GB" sz="794" b="1" cap="all">
                <a:solidFill>
                  <a:schemeClr val="bg1"/>
                </a:solidFill>
              </a:endParaRPr>
            </a:p>
          </p:txBody>
        </p:sp>
        <p:sp>
          <p:nvSpPr>
            <p:cNvPr id="177" name="TekstSylinder 267"/>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5</a:t>
              </a:r>
              <a:endParaRPr lang="en-GB" sz="794" b="1" cap="all">
                <a:solidFill>
                  <a:schemeClr val="bg1"/>
                </a:solidFill>
              </a:endParaRPr>
            </a:p>
          </p:txBody>
        </p:sp>
      </p:grpSp>
      <p:pic>
        <p:nvPicPr>
          <p:cNvPr id="309" name="Bilde 30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88036" y="288037"/>
            <a:ext cx="543600" cy="657234"/>
          </a:xfrm>
          <a:prstGeom prst="rect">
            <a:avLst/>
          </a:prstGeom>
        </p:spPr>
      </p:pic>
      <p:grpSp>
        <p:nvGrpSpPr>
          <p:cNvPr id="7" name="Verden" hidden="1"/>
          <p:cNvGrpSpPr>
            <a:grpSpLocks noChangeAspect="1"/>
          </p:cNvGrpSpPr>
          <p:nvPr userDrawn="1"/>
        </p:nvGrpSpPr>
        <p:grpSpPr bwMode="auto">
          <a:xfrm>
            <a:off x="4067176" y="2047875"/>
            <a:ext cx="1011237" cy="1012824"/>
            <a:chOff x="2585" y="369"/>
            <a:chExt cx="637" cy="638"/>
          </a:xfrm>
        </p:grpSpPr>
        <p:sp>
          <p:nvSpPr>
            <p:cNvPr id="9" name="Freeform 5"/>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 name="Freeform 6"/>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 name="Freeform 7"/>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2" name="Freeform 8"/>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 name="Freeform 9"/>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6" name="Vaskeboette" hidden="1"/>
          <p:cNvGrpSpPr>
            <a:grpSpLocks noChangeAspect="1"/>
          </p:cNvGrpSpPr>
          <p:nvPr userDrawn="1"/>
        </p:nvGrpSpPr>
        <p:grpSpPr bwMode="auto">
          <a:xfrm>
            <a:off x="4102895" y="1946276"/>
            <a:ext cx="939799" cy="1216025"/>
            <a:chOff x="1610" y="386"/>
            <a:chExt cx="592" cy="766"/>
          </a:xfrm>
        </p:grpSpPr>
        <p:sp>
          <p:nvSpPr>
            <p:cNvPr id="18" name="Freeform 13"/>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9" name="Freeform 14"/>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20" name="Freeform 15"/>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1" name="Freeform 16"/>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2" name="Freeform 17"/>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3" name="Freeform 18"/>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4" name="Freeform 19"/>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5" name="Freeform 20"/>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27" name="UtenlandskArbeidstaker" hidden="1"/>
          <p:cNvGrpSpPr>
            <a:grpSpLocks noChangeAspect="1"/>
          </p:cNvGrpSpPr>
          <p:nvPr userDrawn="1"/>
        </p:nvGrpSpPr>
        <p:grpSpPr bwMode="auto">
          <a:xfrm>
            <a:off x="4131469" y="1826418"/>
            <a:ext cx="882650" cy="1455738"/>
            <a:chOff x="1137" y="1217"/>
            <a:chExt cx="556" cy="917"/>
          </a:xfrm>
        </p:grpSpPr>
        <p:sp>
          <p:nvSpPr>
            <p:cNvPr id="29" name="Freeform 24"/>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30" name="Oval 25"/>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31" name="Freeform 26"/>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28" name="Freeform 27"/>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29" name="Freeform 28"/>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0" name="Freeform 29"/>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1" name="Freeform 30"/>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33" name="Transportmiddel_tog" hidden="1"/>
          <p:cNvGrpSpPr>
            <a:grpSpLocks noChangeAspect="1"/>
          </p:cNvGrpSpPr>
          <p:nvPr userDrawn="1"/>
        </p:nvGrpSpPr>
        <p:grpSpPr bwMode="auto">
          <a:xfrm>
            <a:off x="4068764" y="1806576"/>
            <a:ext cx="1008063" cy="1495425"/>
            <a:chOff x="3547" y="1142"/>
            <a:chExt cx="635" cy="942"/>
          </a:xfrm>
        </p:grpSpPr>
        <p:sp>
          <p:nvSpPr>
            <p:cNvPr id="135" name="Freeform 34"/>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6" name="Freeform 35"/>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7" name="Freeform 36"/>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39" name="SvartArbeid" hidden="1"/>
          <p:cNvGrpSpPr>
            <a:grpSpLocks noChangeAspect="1"/>
          </p:cNvGrpSpPr>
          <p:nvPr userDrawn="1"/>
        </p:nvGrpSpPr>
        <p:grpSpPr bwMode="auto">
          <a:xfrm>
            <a:off x="4143376" y="1974851"/>
            <a:ext cx="858838" cy="1158875"/>
            <a:chOff x="1863" y="1517"/>
            <a:chExt cx="541" cy="730"/>
          </a:xfrm>
        </p:grpSpPr>
        <p:sp>
          <p:nvSpPr>
            <p:cNvPr id="141" name="Freeform 40"/>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42" name="Oval 41"/>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43" name="Freeform 42"/>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45" name="Skjema" hidden="1"/>
          <p:cNvGrpSpPr>
            <a:grpSpLocks noChangeAspect="1"/>
          </p:cNvGrpSpPr>
          <p:nvPr userDrawn="1"/>
        </p:nvGrpSpPr>
        <p:grpSpPr bwMode="auto">
          <a:xfrm>
            <a:off x="3430589" y="1896268"/>
            <a:ext cx="2284413" cy="1316038"/>
            <a:chOff x="2733" y="2022"/>
            <a:chExt cx="1439" cy="829"/>
          </a:xfrm>
        </p:grpSpPr>
        <p:sp>
          <p:nvSpPr>
            <p:cNvPr id="147" name="Freeform 46"/>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48" name="Freeform 47"/>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49" name="Line 48"/>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0" name="Line 49"/>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1" name="Line 50"/>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2" name="Line 51"/>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3" name="Freeform 52"/>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4" name="Line 53"/>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0" name="Freeform 54"/>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1" name="Line 55"/>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2" name="Freeform 56"/>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64" name="Regnskapsfoerer" hidden="1"/>
          <p:cNvGrpSpPr>
            <a:grpSpLocks noChangeAspect="1"/>
          </p:cNvGrpSpPr>
          <p:nvPr userDrawn="1"/>
        </p:nvGrpSpPr>
        <p:grpSpPr bwMode="auto">
          <a:xfrm>
            <a:off x="4132264" y="1943101"/>
            <a:ext cx="881063" cy="1222375"/>
            <a:chOff x="3989" y="190"/>
            <a:chExt cx="555" cy="770"/>
          </a:xfrm>
        </p:grpSpPr>
        <p:sp>
          <p:nvSpPr>
            <p:cNvPr id="966" name="Freeform 60"/>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67" name="Oval 61"/>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68" name="Freeform 62"/>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70" name="Pensjonist" hidden="1"/>
          <p:cNvGrpSpPr>
            <a:grpSpLocks noChangeAspect="1"/>
          </p:cNvGrpSpPr>
          <p:nvPr userDrawn="1"/>
        </p:nvGrpSpPr>
        <p:grpSpPr bwMode="auto">
          <a:xfrm>
            <a:off x="4133057" y="1893888"/>
            <a:ext cx="879475" cy="1320801"/>
            <a:chOff x="4341" y="1057"/>
            <a:chExt cx="554" cy="832"/>
          </a:xfrm>
        </p:grpSpPr>
        <p:sp>
          <p:nvSpPr>
            <p:cNvPr id="972" name="Freeform 66"/>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3" name="Oval 67"/>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4" name="Freeform 68"/>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76" name="Pengeoverfoering" hidden="1"/>
          <p:cNvGrpSpPr>
            <a:grpSpLocks noChangeAspect="1"/>
          </p:cNvGrpSpPr>
          <p:nvPr userDrawn="1"/>
        </p:nvGrpSpPr>
        <p:grpSpPr bwMode="auto">
          <a:xfrm>
            <a:off x="3571082" y="1752601"/>
            <a:ext cx="2003425" cy="1603375"/>
            <a:chOff x="2307" y="187"/>
            <a:chExt cx="1262" cy="1010"/>
          </a:xfrm>
        </p:grpSpPr>
        <p:sp>
          <p:nvSpPr>
            <p:cNvPr id="978" name="Freeform 72"/>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9" name="Freeform 73"/>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0" name="Freeform 74"/>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1" name="Freeform 75"/>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2" name="Freeform 76"/>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3" name="Freeform 77"/>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4" name="Freeform 78"/>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5" name="Freeform 79"/>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6" name="Freeform 80"/>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7" name="Oval 81"/>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8" name="Oval 82"/>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9" name="Freeform 83"/>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0" name="Freeform 84"/>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1" name="Freeform 85"/>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2" name="Freeform 86"/>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3" name="Freeform 87"/>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4" name="Freeform 88"/>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5" name="Oval 89"/>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6" name="Oval 90"/>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7" name="Freeform 91"/>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8" name="Freeform 92"/>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9" name="Freeform 93"/>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0" name="Freeform 94"/>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1" name="Freeform 95"/>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2" name="Freeform 96"/>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3" name="Freeform 97"/>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4" name="Freeform 98"/>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5" name="Freeform 99"/>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6" name="Freeform 100"/>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7" name="Freeform 101"/>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8" name="Freeform 102"/>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9" name="Oval 103"/>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0" name="Oval 104"/>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12" name="Nettbrett" hidden="1"/>
          <p:cNvGrpSpPr>
            <a:grpSpLocks noChangeAspect="1"/>
          </p:cNvGrpSpPr>
          <p:nvPr userDrawn="1"/>
        </p:nvGrpSpPr>
        <p:grpSpPr bwMode="auto">
          <a:xfrm>
            <a:off x="3467101" y="1872457"/>
            <a:ext cx="2211388" cy="1363663"/>
            <a:chOff x="2517" y="961"/>
            <a:chExt cx="1393" cy="859"/>
          </a:xfrm>
        </p:grpSpPr>
        <p:sp>
          <p:nvSpPr>
            <p:cNvPr id="1014" name="Freeform 108"/>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5" name="Rectangle 109"/>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6" name="Oval 110"/>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18" name="Mobil" hidden="1"/>
          <p:cNvGrpSpPr>
            <a:grpSpLocks noChangeAspect="1"/>
          </p:cNvGrpSpPr>
          <p:nvPr userDrawn="1"/>
        </p:nvGrpSpPr>
        <p:grpSpPr bwMode="auto">
          <a:xfrm>
            <a:off x="3971926" y="1579563"/>
            <a:ext cx="1201738" cy="1949450"/>
            <a:chOff x="1351" y="832"/>
            <a:chExt cx="757" cy="1228"/>
          </a:xfrm>
        </p:grpSpPr>
        <p:sp>
          <p:nvSpPr>
            <p:cNvPr id="1020" name="Freeform 114"/>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1" name="Rectangle 115"/>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2" name="Oval 116"/>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24" name="Institusjon" hidden="1"/>
          <p:cNvGrpSpPr>
            <a:grpSpLocks noChangeAspect="1"/>
          </p:cNvGrpSpPr>
          <p:nvPr userDrawn="1"/>
        </p:nvGrpSpPr>
        <p:grpSpPr bwMode="auto">
          <a:xfrm>
            <a:off x="3409951" y="1926432"/>
            <a:ext cx="2325688" cy="1255712"/>
            <a:chOff x="2465" y="1978"/>
            <a:chExt cx="1465" cy="791"/>
          </a:xfrm>
        </p:grpSpPr>
        <p:sp>
          <p:nvSpPr>
            <p:cNvPr id="1026" name="Freeform 120"/>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7" name="Freeform 121"/>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8" name="Rectangle 122"/>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9" name="Freeform 123"/>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0" name="Freeform 124"/>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1" name="Freeform 125"/>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2" name="Freeform 126"/>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3" name="Freeform 127"/>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4" name="Freeform 128"/>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5" name="Freeform 129"/>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6" name="Freeform 130"/>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7" name="Freeform 131"/>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8" name="Freeform 132"/>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9" name="Freeform 133"/>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0" name="Freeform 134"/>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1" name="Freeform 135"/>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2" name="Freeform 136"/>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3" name="Freeform 137"/>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4" name="Freeform 138"/>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5" name="Freeform 139"/>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6" name="Freeform 140"/>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7" name="Line 141"/>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48" name="Line 142"/>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49" name="Line 143"/>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50" name="Line 144"/>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52" name="Handpenger" hidden="1"/>
          <p:cNvGrpSpPr>
            <a:grpSpLocks noChangeAspect="1"/>
          </p:cNvGrpSpPr>
          <p:nvPr userDrawn="1"/>
        </p:nvGrpSpPr>
        <p:grpSpPr bwMode="auto">
          <a:xfrm>
            <a:off x="3331369" y="1750219"/>
            <a:ext cx="2482850" cy="1608138"/>
            <a:chOff x="2178" y="950"/>
            <a:chExt cx="1564" cy="1013"/>
          </a:xfrm>
        </p:grpSpPr>
        <p:sp>
          <p:nvSpPr>
            <p:cNvPr id="1054" name="Freeform 148"/>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5" name="Rectangle 149"/>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6" name="Freeform 150"/>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7" name="Rectangle 151"/>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8" name="Freeform 152"/>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59" name="Freeform 153"/>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0" name="Freeform 154"/>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1" name="Freeform 155"/>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63" name="Familie" hidden="1"/>
          <p:cNvGrpSpPr>
            <a:grpSpLocks noChangeAspect="1"/>
          </p:cNvGrpSpPr>
          <p:nvPr userDrawn="1"/>
        </p:nvGrpSpPr>
        <p:grpSpPr bwMode="auto">
          <a:xfrm>
            <a:off x="3744119" y="1870076"/>
            <a:ext cx="1657350" cy="1368425"/>
            <a:chOff x="2484" y="566"/>
            <a:chExt cx="1044" cy="862"/>
          </a:xfrm>
        </p:grpSpPr>
        <p:sp>
          <p:nvSpPr>
            <p:cNvPr id="1065" name="Freeform 159"/>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6" name="Oval 160"/>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7" name="Freeform 161"/>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68" name="Oval 162"/>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69" name="Freeform 163"/>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0" name="Oval 164"/>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1" name="Freeform 165"/>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2" name="Oval 166"/>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3" name="Line 167"/>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4" name="Line 168"/>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5" name="Line 169"/>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6" name="Freeform 170"/>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7" name="Freeform 171"/>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8" name="Freeform 172"/>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9" name="Freeform 173"/>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0" name="Freeform 174"/>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82" name="Ektepar" hidden="1"/>
          <p:cNvGrpSpPr>
            <a:grpSpLocks noChangeAspect="1"/>
          </p:cNvGrpSpPr>
          <p:nvPr userDrawn="1"/>
        </p:nvGrpSpPr>
        <p:grpSpPr bwMode="auto">
          <a:xfrm>
            <a:off x="3798094" y="1906587"/>
            <a:ext cx="1549400" cy="1295400"/>
            <a:chOff x="1152" y="582"/>
            <a:chExt cx="976" cy="816"/>
          </a:xfrm>
        </p:grpSpPr>
        <p:sp>
          <p:nvSpPr>
            <p:cNvPr id="1084" name="Freeform 178"/>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5" name="Oval 179"/>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6" name="Freeform 180"/>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7" name="Freeform 181"/>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8" name="Oval 182"/>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9" name="Freeform 183"/>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91" name="Byggekloss" hidden="1"/>
          <p:cNvGrpSpPr>
            <a:grpSpLocks noChangeAspect="1"/>
          </p:cNvGrpSpPr>
          <p:nvPr userDrawn="1"/>
        </p:nvGrpSpPr>
        <p:grpSpPr bwMode="auto">
          <a:xfrm>
            <a:off x="3734594" y="2005807"/>
            <a:ext cx="1676400" cy="1096962"/>
            <a:chOff x="2705" y="1748"/>
            <a:chExt cx="1056" cy="691"/>
          </a:xfrm>
        </p:grpSpPr>
        <p:sp>
          <p:nvSpPr>
            <p:cNvPr id="1093" name="Rectangle 187"/>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4" name="Rectangle 188"/>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5" name="Rectangle 189"/>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6" name="Rectangle 190"/>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7" name="Rectangle 191"/>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8" name="Freeform 192"/>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9" name="Freeform 193"/>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0" name="Freeform 194"/>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1" name="Freeform 195"/>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2" name="Rectangle 196"/>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3" name="Rectangle 197"/>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4" name="Rectangle 198"/>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06" name="Baby" hidden="1"/>
          <p:cNvGrpSpPr>
            <a:grpSpLocks noChangeAspect="1"/>
          </p:cNvGrpSpPr>
          <p:nvPr userDrawn="1"/>
        </p:nvGrpSpPr>
        <p:grpSpPr bwMode="auto">
          <a:xfrm>
            <a:off x="4132264" y="1843088"/>
            <a:ext cx="881063" cy="1422400"/>
            <a:chOff x="3889" y="1680"/>
            <a:chExt cx="555" cy="896"/>
          </a:xfrm>
        </p:grpSpPr>
        <p:sp>
          <p:nvSpPr>
            <p:cNvPr id="1108" name="Freeform 202"/>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109" name="Line 203"/>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10" name="Freeform 204"/>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1" name="Oval 205"/>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2" name="Oval 206"/>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3" name="Oval 207"/>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15" name="Utropstegn" hidden="1"/>
          <p:cNvGrpSpPr>
            <a:grpSpLocks noChangeAspect="1"/>
          </p:cNvGrpSpPr>
          <p:nvPr userDrawn="1"/>
        </p:nvGrpSpPr>
        <p:grpSpPr bwMode="auto">
          <a:xfrm>
            <a:off x="4279902" y="1889125"/>
            <a:ext cx="280987" cy="1117600"/>
            <a:chOff x="2696" y="1190"/>
            <a:chExt cx="177" cy="704"/>
          </a:xfrm>
        </p:grpSpPr>
        <p:sp>
          <p:nvSpPr>
            <p:cNvPr id="1117" name="Freeform 211"/>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8" name="Oval 212"/>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20" name="penger" hidden="1"/>
          <p:cNvGrpSpPr>
            <a:grpSpLocks noChangeAspect="1"/>
          </p:cNvGrpSpPr>
          <p:nvPr userDrawn="1"/>
        </p:nvGrpSpPr>
        <p:grpSpPr bwMode="auto">
          <a:xfrm>
            <a:off x="3976689" y="1817688"/>
            <a:ext cx="1150938" cy="995362"/>
            <a:chOff x="2505" y="1145"/>
            <a:chExt cx="725" cy="627"/>
          </a:xfrm>
        </p:grpSpPr>
        <p:sp>
          <p:nvSpPr>
            <p:cNvPr id="1122" name="Freeform 216"/>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3" name="Freeform 217"/>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4" name="Freeform 218"/>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5" name="Freeform 219"/>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6" name="Freeform 220"/>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7" name="Freeform 221"/>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8" name="Freeform 222"/>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9" name="Freeform 223"/>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0" name="Oval 224"/>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1" name="Oval 225"/>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2" name="Freeform 226"/>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3" name="Freeform 227"/>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4" name="Freeform 228"/>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5" name="Freeform 229"/>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6" name="Freeform 230"/>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7" name="Freeform 231"/>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8" name="Oval 232"/>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9" name="Oval 233"/>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0" name="Freeform 234"/>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1" name="Freeform 235"/>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2" name="Freeform 236"/>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3" name="Freeform 237"/>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4" name="Freeform 238"/>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5" name="Freeform 239"/>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6" name="Freeform 240"/>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7" name="Freeform 241"/>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8" name="Freeform 242"/>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9" name="Freeform 243"/>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50" name="Freeform 244"/>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51" name="Freeform 245"/>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52" name="Oval 246"/>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53" name="Oval 247"/>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spTree>
    <p:extLst>
      <p:ext uri="{BB962C8B-B14F-4D97-AF65-F5344CB8AC3E}">
        <p14:creationId xmlns:p14="http://schemas.microsoft.com/office/powerpoint/2010/main" val="2259884546"/>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89" r:id="rId8"/>
  </p:sldLayoutIdLst>
  <p:hf sldNum="0" hdr="0" ftr="0" dt="0"/>
  <p:txStyles>
    <p:titleStyle>
      <a:lvl1pPr algn="l" defTabSz="676341" rtl="0" eaLnBrk="1" latinLnBrk="0" hangingPunct="1">
        <a:lnSpc>
          <a:spcPct val="90000"/>
        </a:lnSpc>
        <a:spcBef>
          <a:spcPct val="0"/>
        </a:spcBef>
        <a:buNone/>
        <a:defRPr sz="3674" b="1" kern="1200">
          <a:solidFill>
            <a:schemeClr val="tx1"/>
          </a:solidFill>
          <a:latin typeface="+mj-lt"/>
          <a:ea typeface="+mj-ea"/>
          <a:cs typeface="+mj-cs"/>
        </a:defRPr>
      </a:lvl1pPr>
    </p:titleStyle>
    <p:bodyStyle>
      <a:lvl1pPr marL="169085" indent="-169085" algn="l" defTabSz="676341" rtl="0" eaLnBrk="1" latinLnBrk="0" hangingPunct="1">
        <a:lnSpc>
          <a:spcPct val="90000"/>
        </a:lnSpc>
        <a:spcBef>
          <a:spcPts val="740"/>
        </a:spcBef>
        <a:buFont typeface="Arial" panose="020B0604020202020204" pitchFamily="34" charset="0"/>
        <a:buChar char="•"/>
        <a:defRPr sz="1788" kern="1200">
          <a:solidFill>
            <a:schemeClr val="tx1"/>
          </a:solidFill>
          <a:latin typeface="+mn-lt"/>
          <a:ea typeface="+mn-ea"/>
          <a:cs typeface="+mn-cs"/>
        </a:defRPr>
      </a:lvl1pPr>
      <a:lvl2pPr marL="507257" indent="-169085" algn="l" defTabSz="676341" rtl="0" eaLnBrk="1" latinLnBrk="0" hangingPunct="1">
        <a:lnSpc>
          <a:spcPct val="90000"/>
        </a:lnSpc>
        <a:spcBef>
          <a:spcPts val="370"/>
        </a:spcBef>
        <a:buFont typeface="Arial" panose="020B0604020202020204" pitchFamily="34" charset="0"/>
        <a:buChar char="•"/>
        <a:defRPr sz="1589" kern="1200">
          <a:solidFill>
            <a:schemeClr val="tx1"/>
          </a:solidFill>
          <a:latin typeface="+mn-lt"/>
          <a:ea typeface="+mn-ea"/>
          <a:cs typeface="+mn-cs"/>
        </a:defRPr>
      </a:lvl2pPr>
      <a:lvl3pPr marL="845426" indent="-169085" algn="l" defTabSz="676341" rtl="0" eaLnBrk="1" latinLnBrk="0" hangingPunct="1">
        <a:lnSpc>
          <a:spcPct val="90000"/>
        </a:lnSpc>
        <a:spcBef>
          <a:spcPts val="370"/>
        </a:spcBef>
        <a:buFont typeface="Arial" panose="020B0604020202020204" pitchFamily="34" charset="0"/>
        <a:buChar char="•"/>
        <a:defRPr sz="1490" kern="1200">
          <a:solidFill>
            <a:schemeClr val="tx1"/>
          </a:solidFill>
          <a:latin typeface="+mn-lt"/>
          <a:ea typeface="+mn-ea"/>
          <a:cs typeface="+mn-cs"/>
        </a:defRPr>
      </a:lvl3pPr>
      <a:lvl4pPr marL="1183596"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4pPr>
      <a:lvl5pPr marL="1521767" indent="-169085" algn="l" defTabSz="676341" rtl="0" eaLnBrk="1" latinLnBrk="0" hangingPunct="1">
        <a:lnSpc>
          <a:spcPct val="90000"/>
        </a:lnSpc>
        <a:spcBef>
          <a:spcPts val="370"/>
        </a:spcBef>
        <a:buFont typeface="Arial" panose="020B0604020202020204" pitchFamily="34" charset="0"/>
        <a:buChar char="•"/>
        <a:defRPr sz="1192" kern="1200">
          <a:solidFill>
            <a:schemeClr val="tx1"/>
          </a:solidFill>
          <a:latin typeface="+mn-lt"/>
          <a:ea typeface="+mn-ea"/>
          <a:cs typeface="+mn-cs"/>
        </a:defRPr>
      </a:lvl5pPr>
      <a:lvl6pPr marL="1859938"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6pPr>
      <a:lvl7pPr marL="219810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7pPr>
      <a:lvl8pPr marL="253627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8pPr>
      <a:lvl9pPr marL="287444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9pPr>
    </p:bodyStyle>
    <p:otherStyle>
      <a:defPPr>
        <a:defRPr lang="en-US"/>
      </a:defPPr>
      <a:lvl1pPr marL="0" algn="l" defTabSz="676341" rtl="0" eaLnBrk="1" latinLnBrk="0" hangingPunct="1">
        <a:defRPr sz="1291" kern="1200">
          <a:solidFill>
            <a:schemeClr val="tx1"/>
          </a:solidFill>
          <a:latin typeface="+mn-lt"/>
          <a:ea typeface="+mn-ea"/>
          <a:cs typeface="+mn-cs"/>
        </a:defRPr>
      </a:lvl1pPr>
      <a:lvl2pPr marL="338170" algn="l" defTabSz="676341" rtl="0" eaLnBrk="1" latinLnBrk="0" hangingPunct="1">
        <a:defRPr sz="1291" kern="1200">
          <a:solidFill>
            <a:schemeClr val="tx1"/>
          </a:solidFill>
          <a:latin typeface="+mn-lt"/>
          <a:ea typeface="+mn-ea"/>
          <a:cs typeface="+mn-cs"/>
        </a:defRPr>
      </a:lvl2pPr>
      <a:lvl3pPr marL="676341" algn="l" defTabSz="676341" rtl="0" eaLnBrk="1" latinLnBrk="0" hangingPunct="1">
        <a:defRPr sz="1291" kern="1200">
          <a:solidFill>
            <a:schemeClr val="tx1"/>
          </a:solidFill>
          <a:latin typeface="+mn-lt"/>
          <a:ea typeface="+mn-ea"/>
          <a:cs typeface="+mn-cs"/>
        </a:defRPr>
      </a:lvl3pPr>
      <a:lvl4pPr marL="1014511" algn="l" defTabSz="676341" rtl="0" eaLnBrk="1" latinLnBrk="0" hangingPunct="1">
        <a:defRPr sz="1291" kern="1200">
          <a:solidFill>
            <a:schemeClr val="tx1"/>
          </a:solidFill>
          <a:latin typeface="+mn-lt"/>
          <a:ea typeface="+mn-ea"/>
          <a:cs typeface="+mn-cs"/>
        </a:defRPr>
      </a:lvl4pPr>
      <a:lvl5pPr marL="1352683" algn="l" defTabSz="676341" rtl="0" eaLnBrk="1" latinLnBrk="0" hangingPunct="1">
        <a:defRPr sz="1291" kern="1200">
          <a:solidFill>
            <a:schemeClr val="tx1"/>
          </a:solidFill>
          <a:latin typeface="+mn-lt"/>
          <a:ea typeface="+mn-ea"/>
          <a:cs typeface="+mn-cs"/>
        </a:defRPr>
      </a:lvl5pPr>
      <a:lvl6pPr marL="1690852" algn="l" defTabSz="676341" rtl="0" eaLnBrk="1" latinLnBrk="0" hangingPunct="1">
        <a:defRPr sz="1291" kern="1200">
          <a:solidFill>
            <a:schemeClr val="tx1"/>
          </a:solidFill>
          <a:latin typeface="+mn-lt"/>
          <a:ea typeface="+mn-ea"/>
          <a:cs typeface="+mn-cs"/>
        </a:defRPr>
      </a:lvl6pPr>
      <a:lvl7pPr marL="2029023" algn="l" defTabSz="676341" rtl="0" eaLnBrk="1" latinLnBrk="0" hangingPunct="1">
        <a:defRPr sz="1291" kern="1200">
          <a:solidFill>
            <a:schemeClr val="tx1"/>
          </a:solidFill>
          <a:latin typeface="+mn-lt"/>
          <a:ea typeface="+mn-ea"/>
          <a:cs typeface="+mn-cs"/>
        </a:defRPr>
      </a:lvl7pPr>
      <a:lvl8pPr marL="2367194" algn="l" defTabSz="676341" rtl="0" eaLnBrk="1" latinLnBrk="0" hangingPunct="1">
        <a:defRPr sz="1291" kern="1200">
          <a:solidFill>
            <a:schemeClr val="tx1"/>
          </a:solidFill>
          <a:latin typeface="+mn-lt"/>
          <a:ea typeface="+mn-ea"/>
          <a:cs typeface="+mn-cs"/>
        </a:defRPr>
      </a:lvl8pPr>
      <a:lvl9pPr marL="2705364" algn="l" defTabSz="676341" rtl="0" eaLnBrk="1" latinLnBrk="0" hangingPunct="1">
        <a:defRPr sz="129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036" y="1263758"/>
            <a:ext cx="8365168" cy="512448"/>
          </a:xfrm>
          <a:prstGeom prst="rect">
            <a:avLst/>
          </a:prstGeom>
        </p:spPr>
        <p:txBody>
          <a:bodyPr vert="horz" wrap="square"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288036" y="1980248"/>
            <a:ext cx="8371046" cy="2772346"/>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3" y="268201"/>
            <a:ext cx="670791" cy="268200"/>
          </a:xfrm>
          <a:prstGeom prst="rect">
            <a:avLst/>
          </a:prstGeom>
        </p:spPr>
        <p:txBody>
          <a:bodyPr vert="horz" lIns="0" tIns="0" rIns="0" bIns="0" rtlCol="0" anchor="t" anchorCtr="0">
            <a:normAutofit/>
          </a:bodyPr>
          <a:lstStyle>
            <a:lvl1pPr algn="l">
              <a:defRPr sz="700" b="1">
                <a:solidFill>
                  <a:schemeClr val="tx1"/>
                </a:solidFill>
              </a:defRPr>
            </a:lvl1pPr>
          </a:lstStyle>
          <a:p>
            <a:fld id="{205AAB6B-C8DC-467C-B8C5-F1ADB02BF221}" type="datetime1">
              <a:rPr lang="nb-NO" smtClean="0"/>
              <a:t>13.10.2021</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700"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700" b="1">
                <a:solidFill>
                  <a:schemeClr val="tx1"/>
                </a:solidFill>
              </a:defRPr>
            </a:lvl1pPr>
          </a:lstStyle>
          <a:p>
            <a:fld id="{D8865200-363A-4A27-BFE2-9D2920C8E885}" type="slidenum">
              <a:rPr lang="nb-NO" smtClean="0"/>
              <a:pPr/>
              <a:t>‹#›</a:t>
            </a:fld>
            <a:endParaRPr lang="nb-NO"/>
          </a:p>
        </p:txBody>
      </p:sp>
      <p:grpSp>
        <p:nvGrpSpPr>
          <p:cNvPr id="156" name="prosses2" hidden="1"/>
          <p:cNvGrpSpPr>
            <a:grpSpLocks noChangeAspect="1"/>
          </p:cNvGrpSpPr>
          <p:nvPr/>
        </p:nvGrpSpPr>
        <p:grpSpPr bwMode="auto">
          <a:xfrm>
            <a:off x="3326607" y="1307522"/>
            <a:ext cx="2492375" cy="2493531"/>
            <a:chOff x="1310" y="590"/>
            <a:chExt cx="3140" cy="3140"/>
          </a:xfrm>
        </p:grpSpPr>
        <p:sp>
          <p:nvSpPr>
            <p:cNvPr id="294" name="Freeform 63"/>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5" name="Freeform 64"/>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6" name="Freeform 65"/>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7" name="Freeform 66"/>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8" name="Freeform 67"/>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9" name="Rectangle 68"/>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300" name="Rectangle 69"/>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301" name="Rectangle 70"/>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4</a:t>
              </a:r>
              <a:endParaRPr lang="en-US" altLang="en-US" sz="900">
                <a:latin typeface="Arial" panose="020B0604020202020204" pitchFamily="34" charset="0"/>
              </a:endParaRPr>
            </a:p>
          </p:txBody>
        </p:sp>
        <p:sp>
          <p:nvSpPr>
            <p:cNvPr id="302" name="Rectangle 71"/>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grpSp>
      <p:grpSp>
        <p:nvGrpSpPr>
          <p:cNvPr id="157" name="prosses3" hidden="1"/>
          <p:cNvGrpSpPr>
            <a:grpSpLocks noChangeAspect="1"/>
          </p:cNvGrpSpPr>
          <p:nvPr/>
        </p:nvGrpSpPr>
        <p:grpSpPr bwMode="auto">
          <a:xfrm>
            <a:off x="3176985" y="1194760"/>
            <a:ext cx="2791618" cy="2719054"/>
            <a:chOff x="1125" y="481"/>
            <a:chExt cx="3517" cy="3424"/>
          </a:xfrm>
        </p:grpSpPr>
        <p:sp>
          <p:nvSpPr>
            <p:cNvPr id="285" name="Rectangle 75"/>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286" name="Rectangle 76"/>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87" name="Rectangle 78"/>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288" name="Rectangle 79"/>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89" name="Rectangle 81"/>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sp>
          <p:nvSpPr>
            <p:cNvPr id="290" name="Rectangle 82"/>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91" name="Freeform 84"/>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2" name="Freeform 85"/>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3" name="Freeform 86"/>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58" name="prosses5" hidden="1"/>
          <p:cNvGrpSpPr>
            <a:grpSpLocks noChangeAspect="1"/>
          </p:cNvGrpSpPr>
          <p:nvPr/>
        </p:nvGrpSpPr>
        <p:grpSpPr bwMode="auto">
          <a:xfrm>
            <a:off x="2987674" y="1254317"/>
            <a:ext cx="3170240" cy="2599940"/>
            <a:chOff x="885" y="514"/>
            <a:chExt cx="3994" cy="3274"/>
          </a:xfrm>
        </p:grpSpPr>
        <p:sp>
          <p:nvSpPr>
            <p:cNvPr id="273" name="Freeform 133"/>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4" name="Freeform 134"/>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5" name="Freeform 135"/>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6" name="Freeform 136"/>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7" name="Rectangle 137"/>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278" name="Rectangle 138"/>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79" name="Rectangle 140"/>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4</a:t>
              </a:r>
              <a:endParaRPr lang="en-US" altLang="en-US" sz="900">
                <a:latin typeface="Arial" panose="020B0604020202020204" pitchFamily="34" charset="0"/>
              </a:endParaRPr>
            </a:p>
          </p:txBody>
        </p:sp>
        <p:sp>
          <p:nvSpPr>
            <p:cNvPr id="280" name="Rectangle 141"/>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81" name="Rectangle 143"/>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282" name="Rectangle 144"/>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83" name="Rectangle 146"/>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sp>
          <p:nvSpPr>
            <p:cNvPr id="284" name="Rectangle 147"/>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grpSp>
      <p:grpSp>
        <p:nvGrpSpPr>
          <p:cNvPr id="159" name="prosses6" hidden="1"/>
          <p:cNvGrpSpPr>
            <a:grpSpLocks noChangeAspect="1"/>
          </p:cNvGrpSpPr>
          <p:nvPr/>
        </p:nvGrpSpPr>
        <p:grpSpPr bwMode="auto">
          <a:xfrm>
            <a:off x="2974181" y="954934"/>
            <a:ext cx="3197226" cy="3198706"/>
            <a:chOff x="865" y="145"/>
            <a:chExt cx="4028" cy="4028"/>
          </a:xfrm>
        </p:grpSpPr>
        <p:sp>
          <p:nvSpPr>
            <p:cNvPr id="258" name="Freeform 152"/>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59" name="Freeform 153"/>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0" name="Freeform 154"/>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1" name="Freeform 155"/>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2" name="Freeform 156"/>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3" name="Rectangle 157"/>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1</a:t>
              </a:r>
              <a:endParaRPr lang="en-US" altLang="en-US" sz="900">
                <a:latin typeface="Arial" panose="020B0604020202020204" pitchFamily="34" charset="0"/>
              </a:endParaRPr>
            </a:p>
          </p:txBody>
        </p:sp>
        <p:sp>
          <p:nvSpPr>
            <p:cNvPr id="264" name="Rectangle 158"/>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5" name="Rectangle 159"/>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2</a:t>
              </a:r>
              <a:endParaRPr lang="en-US" altLang="en-US" sz="900">
                <a:latin typeface="Arial" panose="020B0604020202020204" pitchFamily="34" charset="0"/>
              </a:endParaRPr>
            </a:p>
          </p:txBody>
        </p:sp>
        <p:sp>
          <p:nvSpPr>
            <p:cNvPr id="266" name="Rectangle 160"/>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7" name="Rectangle 161"/>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3</a:t>
              </a:r>
              <a:endParaRPr lang="en-US" altLang="en-US" sz="900">
                <a:latin typeface="Arial" panose="020B0604020202020204" pitchFamily="34" charset="0"/>
              </a:endParaRPr>
            </a:p>
          </p:txBody>
        </p:sp>
        <p:sp>
          <p:nvSpPr>
            <p:cNvPr id="268" name="Rectangle 162"/>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9" name="Rectangle 163"/>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4</a:t>
              </a:r>
              <a:endParaRPr lang="en-US" altLang="en-US" sz="900">
                <a:latin typeface="Arial" panose="020B0604020202020204" pitchFamily="34" charset="0"/>
              </a:endParaRPr>
            </a:p>
          </p:txBody>
        </p:sp>
        <p:sp>
          <p:nvSpPr>
            <p:cNvPr id="270" name="Rectangle 164"/>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71" name="Rectangle 165"/>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5</a:t>
              </a:r>
              <a:endParaRPr lang="en-US" altLang="en-US" sz="900">
                <a:latin typeface="Arial" panose="020B0604020202020204" pitchFamily="34" charset="0"/>
              </a:endParaRPr>
            </a:p>
          </p:txBody>
        </p:sp>
        <p:sp>
          <p:nvSpPr>
            <p:cNvPr id="272" name="Rectangle 166"/>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grpSp>
      <p:grpSp>
        <p:nvGrpSpPr>
          <p:cNvPr id="161" name="hus" hidden="1"/>
          <p:cNvGrpSpPr>
            <a:grpSpLocks noChangeAspect="1"/>
          </p:cNvGrpSpPr>
          <p:nvPr/>
        </p:nvGrpSpPr>
        <p:grpSpPr bwMode="auto">
          <a:xfrm>
            <a:off x="3996531" y="1927728"/>
            <a:ext cx="1152526" cy="1253118"/>
            <a:chOff x="2154" y="1370"/>
            <a:chExt cx="1452" cy="1578"/>
          </a:xfrm>
        </p:grpSpPr>
        <p:sp>
          <p:nvSpPr>
            <p:cNvPr id="219" name="Freeform 189"/>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0" name="Freeform 190"/>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1" name="Freeform 191"/>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2" name="Freeform 192"/>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3" name="Freeform 193"/>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4" name="Freeform 194"/>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5" name="Freeform 195"/>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6" name="Freeform 196"/>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7" name="Freeform 197"/>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8" name="Freeform 198"/>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9" name="Freeform 199"/>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0" name="Freeform 200"/>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1" name="Freeform 201"/>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2" name="Freeform 202"/>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3" name="Freeform 203"/>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4" name="Freeform 204"/>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5" name="Freeform 205"/>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6" name="Freeform 206"/>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7" name="Freeform 207"/>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8" name="Freeform 208"/>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9" name="Freeform 209"/>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40" name="Freeform 210"/>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41" name="Freeform 211"/>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2" name="app" hidden="1"/>
          <p:cNvGrpSpPr>
            <a:grpSpLocks noChangeAspect="1"/>
          </p:cNvGrpSpPr>
          <p:nvPr/>
        </p:nvGrpSpPr>
        <p:grpSpPr bwMode="auto">
          <a:xfrm>
            <a:off x="4197350" y="1946787"/>
            <a:ext cx="750888" cy="1215000"/>
            <a:chOff x="2407" y="1397"/>
            <a:chExt cx="946" cy="1530"/>
          </a:xfrm>
        </p:grpSpPr>
        <p:sp>
          <p:nvSpPr>
            <p:cNvPr id="215" name="Freeform 215"/>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6" name="Rectangle 216"/>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7" name="Oval 217"/>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8" name="Freeform 218"/>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3" name="person" hidden="1"/>
          <p:cNvGrpSpPr>
            <a:grpSpLocks noChangeAspect="1"/>
          </p:cNvGrpSpPr>
          <p:nvPr/>
        </p:nvGrpSpPr>
        <p:grpSpPr bwMode="auto">
          <a:xfrm>
            <a:off x="4187825" y="2047639"/>
            <a:ext cx="769938" cy="1013296"/>
            <a:chOff x="2395" y="1524"/>
            <a:chExt cx="970" cy="1276"/>
          </a:xfrm>
        </p:grpSpPr>
        <p:sp>
          <p:nvSpPr>
            <p:cNvPr id="211" name="Freeform 222"/>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2" name="Freeform 223"/>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3" name="Oval 224"/>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4" name="Freeform 225"/>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4" name="person_slips" hidden="1"/>
          <p:cNvGrpSpPr>
            <a:grpSpLocks noChangeAspect="1"/>
          </p:cNvGrpSpPr>
          <p:nvPr/>
        </p:nvGrpSpPr>
        <p:grpSpPr bwMode="auto">
          <a:xfrm>
            <a:off x="4187428" y="2047639"/>
            <a:ext cx="770732" cy="1013296"/>
            <a:chOff x="460" y="1095"/>
            <a:chExt cx="971" cy="1276"/>
          </a:xfrm>
        </p:grpSpPr>
        <p:sp>
          <p:nvSpPr>
            <p:cNvPr id="206" name="Freeform 229"/>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7" name="Freeform 230"/>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8" name="Oval 231"/>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9" name="Freeform 232"/>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0" name="Freeform 233"/>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5" name="gruppe" hidden="1"/>
          <p:cNvGrpSpPr>
            <a:grpSpLocks noChangeAspect="1"/>
          </p:cNvGrpSpPr>
          <p:nvPr/>
        </p:nvGrpSpPr>
        <p:grpSpPr bwMode="auto">
          <a:xfrm>
            <a:off x="3754437" y="1953139"/>
            <a:ext cx="1636715" cy="1202296"/>
            <a:chOff x="1847" y="1404"/>
            <a:chExt cx="2062" cy="1514"/>
          </a:xfrm>
        </p:grpSpPr>
        <p:sp>
          <p:nvSpPr>
            <p:cNvPr id="194" name="Freeform 237"/>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5" name="Freeform 238"/>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6" name="Oval 239"/>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7" name="Freeform 240"/>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8" name="Freeform 241"/>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9" name="Freeform 242"/>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0" name="Oval 243"/>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1" name="Freeform 244"/>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2" name="Freeform 245"/>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3" name="Freeform 246"/>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4" name="Oval 247"/>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5" name="Freeform 248"/>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sp>
        <p:nvSpPr>
          <p:cNvPr id="166" name="pilhoyre" hidden="1"/>
          <p:cNvSpPr>
            <a:spLocks/>
          </p:cNvSpPr>
          <p:nvPr/>
        </p:nvSpPr>
        <p:spPr bwMode="auto">
          <a:xfrm>
            <a:off x="4123135" y="2319228"/>
            <a:ext cx="899319" cy="470118"/>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7" name="pilvenstre" hidden="1"/>
          <p:cNvSpPr>
            <a:spLocks/>
          </p:cNvSpPr>
          <p:nvPr/>
        </p:nvSpPr>
        <p:spPr bwMode="auto">
          <a:xfrm>
            <a:off x="4123135" y="2319228"/>
            <a:ext cx="899319" cy="470118"/>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8" name="pilopp" hidden="1"/>
          <p:cNvSpPr>
            <a:spLocks/>
          </p:cNvSpPr>
          <p:nvPr/>
        </p:nvSpPr>
        <p:spPr bwMode="auto">
          <a:xfrm>
            <a:off x="4339035" y="2101243"/>
            <a:ext cx="467519" cy="906088"/>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9" name="pilned" hidden="1"/>
          <p:cNvSpPr>
            <a:spLocks/>
          </p:cNvSpPr>
          <p:nvPr/>
        </p:nvSpPr>
        <p:spPr bwMode="auto">
          <a:xfrm>
            <a:off x="4339035" y="2102037"/>
            <a:ext cx="467519" cy="904500"/>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nvGrpSpPr>
          <p:cNvPr id="170" name="prosses4" hidden="1"/>
          <p:cNvGrpSpPr/>
          <p:nvPr/>
        </p:nvGrpSpPr>
        <p:grpSpPr>
          <a:xfrm>
            <a:off x="3190168" y="1183991"/>
            <a:ext cx="2765252" cy="2740592"/>
            <a:chOff x="1949529" y="751583"/>
            <a:chExt cx="5530502" cy="5478645"/>
          </a:xfrm>
        </p:grpSpPr>
        <p:grpSp>
          <p:nvGrpSpPr>
            <p:cNvPr id="185" name="prosses4"/>
            <p:cNvGrpSpPr>
              <a:grpSpLocks noChangeAspect="1"/>
            </p:cNvGrpSpPr>
            <p:nvPr userDrawn="1"/>
          </p:nvGrpSpPr>
          <p:grpSpPr bwMode="auto">
            <a:xfrm>
              <a:off x="2255718" y="976312"/>
              <a:ext cx="4897441" cy="4897438"/>
              <a:chOff x="1336" y="615"/>
              <a:chExt cx="3085" cy="3085"/>
            </a:xfrm>
          </p:grpSpPr>
          <p:sp>
            <p:nvSpPr>
              <p:cNvPr id="190" name="Freeform 90"/>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1" name="Freeform 91"/>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2" name="Freeform 92"/>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3" name="Freeform 93"/>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sp>
          <p:nvSpPr>
            <p:cNvPr id="186" name="TekstSylinder 221"/>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1</a:t>
              </a:r>
              <a:endParaRPr lang="en-GB" sz="800" b="1" cap="all"/>
            </a:p>
          </p:txBody>
        </p:sp>
        <p:sp>
          <p:nvSpPr>
            <p:cNvPr id="187" name="TekstSylinder 227"/>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2</a:t>
              </a:r>
              <a:endParaRPr lang="en-GB" sz="800" b="1" cap="all"/>
            </a:p>
          </p:txBody>
        </p:sp>
        <p:sp>
          <p:nvSpPr>
            <p:cNvPr id="188" name="TekstSylinder 234"/>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3</a:t>
              </a:r>
              <a:endParaRPr lang="en-GB" sz="800" b="1" cap="all"/>
            </a:p>
          </p:txBody>
        </p:sp>
        <p:sp>
          <p:nvSpPr>
            <p:cNvPr id="189" name="TekstSylinder 242"/>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4</a:t>
              </a:r>
              <a:endParaRPr lang="en-GB" sz="800" b="1" cap="all"/>
            </a:p>
          </p:txBody>
        </p:sp>
      </p:grpSp>
      <p:grpSp>
        <p:nvGrpSpPr>
          <p:cNvPr id="171" name="prosses1" hidden="1"/>
          <p:cNvGrpSpPr/>
          <p:nvPr/>
        </p:nvGrpSpPr>
        <p:grpSpPr>
          <a:xfrm>
            <a:off x="3213894" y="1200714"/>
            <a:ext cx="2717801" cy="2707147"/>
            <a:chOff x="1865313" y="727076"/>
            <a:chExt cx="5435600" cy="5411787"/>
          </a:xfrm>
        </p:grpSpPr>
        <p:grpSp>
          <p:nvGrpSpPr>
            <p:cNvPr id="172" name="prosses1"/>
            <p:cNvGrpSpPr/>
            <p:nvPr userDrawn="1"/>
          </p:nvGrpSpPr>
          <p:grpSpPr>
            <a:xfrm>
              <a:off x="1865313" y="727076"/>
              <a:ext cx="5435600" cy="5411787"/>
              <a:chOff x="1865313" y="727076"/>
              <a:chExt cx="5435600" cy="5411787"/>
            </a:xfrm>
          </p:grpSpPr>
          <p:sp>
            <p:nvSpPr>
              <p:cNvPr id="178" name="Freeform 5"/>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79" name="Freeform 6"/>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0" name="Freeform 7"/>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1" name="Freeform 8"/>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2" name="Freeform 9"/>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3" name="Rectangle 56"/>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defTabSz="457200" eaLnBrk="0" fontAlgn="base" hangingPunct="0">
                  <a:spcBef>
                    <a:spcPct val="0"/>
                  </a:spcBef>
                  <a:spcAft>
                    <a:spcPct val="0"/>
                  </a:spcAft>
                </a:pPr>
                <a:r>
                  <a:rPr lang="en-US" altLang="en-US" sz="1400" b="1">
                    <a:solidFill>
                      <a:srgbClr val="010101"/>
                    </a:solidFill>
                    <a:latin typeface="Arial" panose="020B0604020202020204" pitchFamily="34" charset="0"/>
                  </a:rPr>
                  <a:t>Tittel</a:t>
                </a:r>
                <a:endParaRPr lang="en-US" altLang="en-US" sz="900">
                  <a:latin typeface="Arial" panose="020B0604020202020204" pitchFamily="34" charset="0"/>
                </a:endParaRPr>
              </a:p>
            </p:txBody>
          </p:sp>
          <p:sp>
            <p:nvSpPr>
              <p:cNvPr id="184" name="Rectangle 58"/>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900">
                    <a:solidFill>
                      <a:srgbClr val="010101"/>
                    </a:solidFill>
                    <a:latin typeface="Arial" panose="020B0604020202020204" pitchFamily="34" charset="0"/>
                  </a:rPr>
                  <a:t>Hva handler dette</a:t>
                </a:r>
                <a:br>
                  <a:rPr lang="en-US" altLang="en-US" sz="900">
                    <a:solidFill>
                      <a:srgbClr val="010101"/>
                    </a:solidFill>
                    <a:latin typeface="Arial" panose="020B0604020202020204" pitchFamily="34" charset="0"/>
                  </a:rPr>
                </a:br>
                <a:r>
                  <a:rPr lang="en-US" altLang="en-US" sz="9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grpSp>
        <p:sp>
          <p:nvSpPr>
            <p:cNvPr id="173" name="TekstSylinder 244"/>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1</a:t>
              </a:r>
              <a:endParaRPr lang="en-GB" sz="800" b="1" cap="all">
                <a:solidFill>
                  <a:schemeClr val="bg1"/>
                </a:solidFill>
              </a:endParaRPr>
            </a:p>
          </p:txBody>
        </p:sp>
        <p:sp>
          <p:nvSpPr>
            <p:cNvPr id="174" name="TekstSylinder 264"/>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2</a:t>
              </a:r>
              <a:endParaRPr lang="en-GB" sz="800" b="1" cap="all">
                <a:solidFill>
                  <a:schemeClr val="bg1"/>
                </a:solidFill>
              </a:endParaRPr>
            </a:p>
          </p:txBody>
        </p:sp>
        <p:sp>
          <p:nvSpPr>
            <p:cNvPr id="175" name="TekstSylinder 265"/>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3</a:t>
              </a:r>
              <a:endParaRPr lang="en-GB" sz="800" b="1" cap="all">
                <a:solidFill>
                  <a:schemeClr val="bg1"/>
                </a:solidFill>
              </a:endParaRPr>
            </a:p>
          </p:txBody>
        </p:sp>
        <p:sp>
          <p:nvSpPr>
            <p:cNvPr id="176" name="TekstSylinder 266"/>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4</a:t>
              </a:r>
              <a:endParaRPr lang="en-GB" sz="800" b="1" cap="all">
                <a:solidFill>
                  <a:schemeClr val="bg1"/>
                </a:solidFill>
              </a:endParaRPr>
            </a:p>
          </p:txBody>
        </p:sp>
        <p:sp>
          <p:nvSpPr>
            <p:cNvPr id="177" name="TekstSylinder 267"/>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5</a:t>
              </a:r>
              <a:endParaRPr lang="en-GB" sz="800" b="1" cap="all">
                <a:solidFill>
                  <a:schemeClr val="bg1"/>
                </a:solidFill>
              </a:endParaRPr>
            </a:p>
          </p:txBody>
        </p:sp>
      </p:grpSp>
      <p:pic>
        <p:nvPicPr>
          <p:cNvPr id="309" name="Bilde 30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8036" y="288036"/>
            <a:ext cx="543600" cy="657234"/>
          </a:xfrm>
          <a:prstGeom prst="rect">
            <a:avLst/>
          </a:prstGeom>
        </p:spPr>
      </p:pic>
      <p:grpSp>
        <p:nvGrpSpPr>
          <p:cNvPr id="7" name="Verden" hidden="1"/>
          <p:cNvGrpSpPr>
            <a:grpSpLocks noChangeAspect="1"/>
          </p:cNvGrpSpPr>
          <p:nvPr/>
        </p:nvGrpSpPr>
        <p:grpSpPr bwMode="auto">
          <a:xfrm>
            <a:off x="4067176" y="2047875"/>
            <a:ext cx="1011237" cy="1012824"/>
            <a:chOff x="2585" y="369"/>
            <a:chExt cx="637" cy="638"/>
          </a:xfrm>
        </p:grpSpPr>
        <p:sp>
          <p:nvSpPr>
            <p:cNvPr id="9" name="Freeform 5"/>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 name="Freeform 6"/>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Freeform 7"/>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 name="Freeform 8"/>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 name="Freeform 9"/>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6" name="Vaskeboette" hidden="1"/>
          <p:cNvGrpSpPr>
            <a:grpSpLocks noChangeAspect="1"/>
          </p:cNvGrpSpPr>
          <p:nvPr/>
        </p:nvGrpSpPr>
        <p:grpSpPr bwMode="auto">
          <a:xfrm>
            <a:off x="4102895" y="1946275"/>
            <a:ext cx="939799" cy="1216025"/>
            <a:chOff x="1610" y="386"/>
            <a:chExt cx="592" cy="766"/>
          </a:xfrm>
        </p:grpSpPr>
        <p:sp>
          <p:nvSpPr>
            <p:cNvPr id="18" name="Freeform 13"/>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9" name="Freeform 14"/>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0" name="Freeform 15"/>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1" name="Freeform 16"/>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2" name="Freeform 17"/>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3" name="Freeform 18"/>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4" name="Freeform 19"/>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5" name="Freeform 20"/>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27" name="UtenlandskArbeidstaker" hidden="1"/>
          <p:cNvGrpSpPr>
            <a:grpSpLocks noChangeAspect="1"/>
          </p:cNvGrpSpPr>
          <p:nvPr/>
        </p:nvGrpSpPr>
        <p:grpSpPr bwMode="auto">
          <a:xfrm>
            <a:off x="4131469" y="1826418"/>
            <a:ext cx="882650" cy="1455738"/>
            <a:chOff x="1137" y="1217"/>
            <a:chExt cx="556" cy="917"/>
          </a:xfrm>
        </p:grpSpPr>
        <p:sp>
          <p:nvSpPr>
            <p:cNvPr id="29" name="Freeform 24"/>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30" name="Oval 25"/>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31" name="Freeform 26"/>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28" name="Freeform 27"/>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9" name="Freeform 28"/>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0" name="Freeform 29"/>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1" name="Freeform 30"/>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33" name="Transportmiddel_tog" hidden="1"/>
          <p:cNvGrpSpPr>
            <a:grpSpLocks noChangeAspect="1"/>
          </p:cNvGrpSpPr>
          <p:nvPr/>
        </p:nvGrpSpPr>
        <p:grpSpPr bwMode="auto">
          <a:xfrm>
            <a:off x="4068763" y="1806575"/>
            <a:ext cx="1008063" cy="1495425"/>
            <a:chOff x="3547" y="1142"/>
            <a:chExt cx="635" cy="942"/>
          </a:xfrm>
        </p:grpSpPr>
        <p:sp>
          <p:nvSpPr>
            <p:cNvPr id="135" name="Freeform 34"/>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6" name="Freeform 35"/>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7" name="Freeform 36"/>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39" name="SvartArbeid" hidden="1"/>
          <p:cNvGrpSpPr>
            <a:grpSpLocks noChangeAspect="1"/>
          </p:cNvGrpSpPr>
          <p:nvPr/>
        </p:nvGrpSpPr>
        <p:grpSpPr bwMode="auto">
          <a:xfrm>
            <a:off x="4143375" y="1974850"/>
            <a:ext cx="858838" cy="1158875"/>
            <a:chOff x="1863" y="1517"/>
            <a:chExt cx="541" cy="730"/>
          </a:xfrm>
        </p:grpSpPr>
        <p:sp>
          <p:nvSpPr>
            <p:cNvPr id="141" name="Freeform 40"/>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42" name="Oval 41"/>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43" name="Freeform 42"/>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45" name="Skjema" hidden="1"/>
          <p:cNvGrpSpPr>
            <a:grpSpLocks noChangeAspect="1"/>
          </p:cNvGrpSpPr>
          <p:nvPr/>
        </p:nvGrpSpPr>
        <p:grpSpPr bwMode="auto">
          <a:xfrm>
            <a:off x="3430588" y="1896268"/>
            <a:ext cx="2284413" cy="1316038"/>
            <a:chOff x="2733" y="2022"/>
            <a:chExt cx="1439" cy="829"/>
          </a:xfrm>
        </p:grpSpPr>
        <p:sp>
          <p:nvSpPr>
            <p:cNvPr id="147" name="Freeform 46"/>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8" name="Freeform 47"/>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9" name="Line 48"/>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0" name="Line 49"/>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1" name="Line 50"/>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2" name="Line 51"/>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3" name="Freeform 52"/>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4" name="Line 53"/>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0" name="Freeform 54"/>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1" name="Line 55"/>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2" name="Freeform 56"/>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964" name="Regnskapsfoerer" hidden="1"/>
          <p:cNvGrpSpPr>
            <a:grpSpLocks noChangeAspect="1"/>
          </p:cNvGrpSpPr>
          <p:nvPr/>
        </p:nvGrpSpPr>
        <p:grpSpPr bwMode="auto">
          <a:xfrm>
            <a:off x="4132263" y="1943100"/>
            <a:ext cx="881063" cy="1222375"/>
            <a:chOff x="3989" y="190"/>
            <a:chExt cx="555" cy="770"/>
          </a:xfrm>
        </p:grpSpPr>
        <p:sp>
          <p:nvSpPr>
            <p:cNvPr id="966" name="Freeform 60"/>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67" name="Oval 61"/>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68" name="Freeform 62"/>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970" name="Pensjonist" hidden="1"/>
          <p:cNvGrpSpPr>
            <a:grpSpLocks noChangeAspect="1"/>
          </p:cNvGrpSpPr>
          <p:nvPr/>
        </p:nvGrpSpPr>
        <p:grpSpPr bwMode="auto">
          <a:xfrm>
            <a:off x="4133057" y="1893887"/>
            <a:ext cx="879475" cy="1320801"/>
            <a:chOff x="4341" y="1057"/>
            <a:chExt cx="554" cy="832"/>
          </a:xfrm>
        </p:grpSpPr>
        <p:sp>
          <p:nvSpPr>
            <p:cNvPr id="972" name="Freeform 66"/>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3" name="Oval 67"/>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4" name="Freeform 68"/>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976" name="Pengeoverfoering" hidden="1"/>
          <p:cNvGrpSpPr>
            <a:grpSpLocks noChangeAspect="1"/>
          </p:cNvGrpSpPr>
          <p:nvPr/>
        </p:nvGrpSpPr>
        <p:grpSpPr bwMode="auto">
          <a:xfrm>
            <a:off x="3571082" y="1752600"/>
            <a:ext cx="2003425" cy="1603375"/>
            <a:chOff x="2307" y="187"/>
            <a:chExt cx="1262" cy="1010"/>
          </a:xfrm>
        </p:grpSpPr>
        <p:sp>
          <p:nvSpPr>
            <p:cNvPr id="978" name="Freeform 72"/>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9" name="Freeform 73"/>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0" name="Freeform 74"/>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1" name="Freeform 75"/>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2" name="Freeform 76"/>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3" name="Freeform 77"/>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4" name="Freeform 78"/>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5" name="Freeform 79"/>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6" name="Freeform 80"/>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7" name="Oval 81"/>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8" name="Oval 82"/>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9" name="Freeform 83"/>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0" name="Freeform 84"/>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1" name="Freeform 85"/>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2" name="Freeform 86"/>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3" name="Freeform 87"/>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4" name="Freeform 88"/>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5" name="Oval 89"/>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6" name="Oval 90"/>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7" name="Freeform 91"/>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8" name="Freeform 92"/>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9" name="Freeform 93"/>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0" name="Freeform 94"/>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1" name="Freeform 95"/>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2" name="Freeform 96"/>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3" name="Freeform 97"/>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4" name="Freeform 98"/>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5" name="Freeform 99"/>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6" name="Freeform 100"/>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7" name="Freeform 101"/>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8" name="Freeform 102"/>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9" name="Oval 103"/>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0" name="Oval 104"/>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12" name="Nettbrett" hidden="1"/>
          <p:cNvGrpSpPr>
            <a:grpSpLocks noChangeAspect="1"/>
          </p:cNvGrpSpPr>
          <p:nvPr/>
        </p:nvGrpSpPr>
        <p:grpSpPr bwMode="auto">
          <a:xfrm>
            <a:off x="3467100" y="1872456"/>
            <a:ext cx="2211388" cy="1363663"/>
            <a:chOff x="2517" y="961"/>
            <a:chExt cx="1393" cy="859"/>
          </a:xfrm>
        </p:grpSpPr>
        <p:sp>
          <p:nvSpPr>
            <p:cNvPr id="1014" name="Freeform 108"/>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5" name="Rectangle 109"/>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6" name="Oval 110"/>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18" name="Mobil" hidden="1"/>
          <p:cNvGrpSpPr>
            <a:grpSpLocks noChangeAspect="1"/>
          </p:cNvGrpSpPr>
          <p:nvPr/>
        </p:nvGrpSpPr>
        <p:grpSpPr bwMode="auto">
          <a:xfrm>
            <a:off x="3971925" y="1579562"/>
            <a:ext cx="1201738" cy="1949450"/>
            <a:chOff x="1351" y="832"/>
            <a:chExt cx="757" cy="1228"/>
          </a:xfrm>
        </p:grpSpPr>
        <p:sp>
          <p:nvSpPr>
            <p:cNvPr id="1020" name="Freeform 114"/>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1" name="Rectangle 115"/>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2" name="Oval 116"/>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24" name="Institusjon" hidden="1"/>
          <p:cNvGrpSpPr>
            <a:grpSpLocks noChangeAspect="1"/>
          </p:cNvGrpSpPr>
          <p:nvPr/>
        </p:nvGrpSpPr>
        <p:grpSpPr bwMode="auto">
          <a:xfrm>
            <a:off x="3409950" y="1926431"/>
            <a:ext cx="2325688" cy="1255712"/>
            <a:chOff x="2465" y="1978"/>
            <a:chExt cx="1465" cy="791"/>
          </a:xfrm>
        </p:grpSpPr>
        <p:sp>
          <p:nvSpPr>
            <p:cNvPr id="1026" name="Freeform 120"/>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7" name="Freeform 121"/>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8" name="Rectangle 122"/>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9" name="Freeform 123"/>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0" name="Freeform 124"/>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1" name="Freeform 125"/>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2" name="Freeform 126"/>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3" name="Freeform 127"/>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4" name="Freeform 128"/>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5" name="Freeform 129"/>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6" name="Freeform 130"/>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7" name="Freeform 131"/>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8" name="Freeform 132"/>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9" name="Freeform 133"/>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0" name="Freeform 134"/>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1" name="Freeform 135"/>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2" name="Freeform 136"/>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3" name="Freeform 137"/>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4" name="Freeform 138"/>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5" name="Freeform 139"/>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6" name="Freeform 140"/>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7" name="Line 141"/>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48" name="Line 142"/>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49" name="Line 143"/>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50" name="Line 144"/>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52" name="Handpenger" hidden="1"/>
          <p:cNvGrpSpPr>
            <a:grpSpLocks noChangeAspect="1"/>
          </p:cNvGrpSpPr>
          <p:nvPr/>
        </p:nvGrpSpPr>
        <p:grpSpPr bwMode="auto">
          <a:xfrm>
            <a:off x="3331369" y="1750218"/>
            <a:ext cx="2482850" cy="1608138"/>
            <a:chOff x="2178" y="950"/>
            <a:chExt cx="1564" cy="1013"/>
          </a:xfrm>
        </p:grpSpPr>
        <p:sp>
          <p:nvSpPr>
            <p:cNvPr id="1054" name="Freeform 148"/>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5" name="Rectangle 149"/>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6" name="Freeform 150"/>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7" name="Rectangle 151"/>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8" name="Freeform 152"/>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59" name="Freeform 153"/>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0" name="Freeform 154"/>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1" name="Freeform 155"/>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63" name="Familie" hidden="1"/>
          <p:cNvGrpSpPr>
            <a:grpSpLocks noChangeAspect="1"/>
          </p:cNvGrpSpPr>
          <p:nvPr/>
        </p:nvGrpSpPr>
        <p:grpSpPr bwMode="auto">
          <a:xfrm>
            <a:off x="3744119" y="1870075"/>
            <a:ext cx="1657350" cy="1368425"/>
            <a:chOff x="2484" y="566"/>
            <a:chExt cx="1044" cy="862"/>
          </a:xfrm>
        </p:grpSpPr>
        <p:sp>
          <p:nvSpPr>
            <p:cNvPr id="1065" name="Freeform 159"/>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6" name="Oval 160"/>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7" name="Freeform 161"/>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68" name="Oval 162"/>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69" name="Freeform 163"/>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0" name="Oval 164"/>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1" name="Freeform 165"/>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2" name="Oval 166"/>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3" name="Line 167"/>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4" name="Line 168"/>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5" name="Line 169"/>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6" name="Freeform 170"/>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7" name="Freeform 171"/>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8" name="Freeform 172"/>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9" name="Freeform 173"/>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0" name="Freeform 174"/>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82" name="Ektepar" hidden="1"/>
          <p:cNvGrpSpPr>
            <a:grpSpLocks noChangeAspect="1"/>
          </p:cNvGrpSpPr>
          <p:nvPr/>
        </p:nvGrpSpPr>
        <p:grpSpPr bwMode="auto">
          <a:xfrm>
            <a:off x="3798094" y="1906587"/>
            <a:ext cx="1549400" cy="1295400"/>
            <a:chOff x="1152" y="582"/>
            <a:chExt cx="976" cy="816"/>
          </a:xfrm>
        </p:grpSpPr>
        <p:sp>
          <p:nvSpPr>
            <p:cNvPr id="1084" name="Freeform 178"/>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5" name="Oval 179"/>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6" name="Freeform 180"/>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7" name="Freeform 181"/>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8" name="Oval 182"/>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9" name="Freeform 183"/>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91" name="Byggekloss" hidden="1"/>
          <p:cNvGrpSpPr>
            <a:grpSpLocks noChangeAspect="1"/>
          </p:cNvGrpSpPr>
          <p:nvPr/>
        </p:nvGrpSpPr>
        <p:grpSpPr bwMode="auto">
          <a:xfrm>
            <a:off x="3734594" y="2005806"/>
            <a:ext cx="1676400" cy="1096962"/>
            <a:chOff x="2705" y="1748"/>
            <a:chExt cx="1056" cy="691"/>
          </a:xfrm>
        </p:grpSpPr>
        <p:sp>
          <p:nvSpPr>
            <p:cNvPr id="1093" name="Rectangle 187"/>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4" name="Rectangle 188"/>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5" name="Rectangle 189"/>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6" name="Rectangle 190"/>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7" name="Rectangle 191"/>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8" name="Freeform 192"/>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9" name="Freeform 193"/>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0" name="Freeform 194"/>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1" name="Freeform 195"/>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2" name="Rectangle 196"/>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3" name="Rectangle 197"/>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4" name="Rectangle 198"/>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106" name="Baby" hidden="1"/>
          <p:cNvGrpSpPr>
            <a:grpSpLocks noChangeAspect="1"/>
          </p:cNvGrpSpPr>
          <p:nvPr/>
        </p:nvGrpSpPr>
        <p:grpSpPr bwMode="auto">
          <a:xfrm>
            <a:off x="4132263" y="1843087"/>
            <a:ext cx="881063" cy="1422400"/>
            <a:chOff x="3889" y="1680"/>
            <a:chExt cx="555" cy="896"/>
          </a:xfrm>
        </p:grpSpPr>
        <p:sp>
          <p:nvSpPr>
            <p:cNvPr id="1108" name="Freeform 202"/>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109" name="Line 203"/>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10" name="Freeform 204"/>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1" name="Oval 205"/>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2" name="Oval 206"/>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3" name="Oval 207"/>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115" name="Utropstegn" hidden="1"/>
          <p:cNvGrpSpPr>
            <a:grpSpLocks noChangeAspect="1"/>
          </p:cNvGrpSpPr>
          <p:nvPr/>
        </p:nvGrpSpPr>
        <p:grpSpPr bwMode="auto">
          <a:xfrm>
            <a:off x="4279901" y="1889125"/>
            <a:ext cx="280987" cy="1117600"/>
            <a:chOff x="2696" y="1190"/>
            <a:chExt cx="177" cy="704"/>
          </a:xfrm>
        </p:grpSpPr>
        <p:sp>
          <p:nvSpPr>
            <p:cNvPr id="1117" name="Freeform 211"/>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8" name="Oval 212"/>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120" name="penger" hidden="1"/>
          <p:cNvGrpSpPr>
            <a:grpSpLocks noChangeAspect="1"/>
          </p:cNvGrpSpPr>
          <p:nvPr/>
        </p:nvGrpSpPr>
        <p:grpSpPr bwMode="auto">
          <a:xfrm>
            <a:off x="3976689" y="1817688"/>
            <a:ext cx="1150938" cy="995362"/>
            <a:chOff x="2505" y="1145"/>
            <a:chExt cx="725" cy="627"/>
          </a:xfrm>
        </p:grpSpPr>
        <p:sp>
          <p:nvSpPr>
            <p:cNvPr id="1122" name="Freeform 216"/>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3" name="Freeform 217"/>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4" name="Freeform 218"/>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5" name="Freeform 219"/>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6" name="Freeform 220"/>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7" name="Freeform 221"/>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8" name="Freeform 222"/>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9" name="Freeform 223"/>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0" name="Oval 224"/>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1" name="Oval 225"/>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2" name="Freeform 226"/>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3" name="Freeform 227"/>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4" name="Freeform 228"/>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5" name="Freeform 229"/>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6" name="Freeform 230"/>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7" name="Freeform 231"/>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8" name="Oval 232"/>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9" name="Oval 233"/>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0" name="Freeform 234"/>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1" name="Freeform 235"/>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2" name="Freeform 236"/>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3" name="Freeform 237"/>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4" name="Freeform 238"/>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5" name="Freeform 239"/>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6" name="Freeform 240"/>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7" name="Freeform 241"/>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8" name="Freeform 242"/>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9" name="Freeform 243"/>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50" name="Freeform 244"/>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51" name="Freeform 245"/>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52" name="Oval 246"/>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53" name="Oval 247"/>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spTree>
    <p:extLst>
      <p:ext uri="{BB962C8B-B14F-4D97-AF65-F5344CB8AC3E}">
        <p14:creationId xmlns:p14="http://schemas.microsoft.com/office/powerpoint/2010/main" val="2359313146"/>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Lst>
  <p:hf sldNum="0" hdr="0" ftr="0" dt="0"/>
  <p:txStyles>
    <p:title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p:titleStyle>
    <p:body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1091" rtl="0" eaLnBrk="1" latinLnBrk="0" hangingPunct="1">
        <a:defRPr sz="1300" kern="1200">
          <a:solidFill>
            <a:schemeClr val="tx1"/>
          </a:solidFill>
          <a:latin typeface="+mn-lt"/>
          <a:ea typeface="+mn-ea"/>
          <a:cs typeface="+mn-cs"/>
        </a:defRPr>
      </a:lvl1pPr>
      <a:lvl2pPr marL="340545" algn="l" defTabSz="681091" rtl="0" eaLnBrk="1" latinLnBrk="0" hangingPunct="1">
        <a:defRPr sz="1300" kern="1200">
          <a:solidFill>
            <a:schemeClr val="tx1"/>
          </a:solidFill>
          <a:latin typeface="+mn-lt"/>
          <a:ea typeface="+mn-ea"/>
          <a:cs typeface="+mn-cs"/>
        </a:defRPr>
      </a:lvl2pPr>
      <a:lvl3pPr marL="681091" algn="l" defTabSz="681091" rtl="0" eaLnBrk="1" latinLnBrk="0" hangingPunct="1">
        <a:defRPr sz="1300" kern="1200">
          <a:solidFill>
            <a:schemeClr val="tx1"/>
          </a:solidFill>
          <a:latin typeface="+mn-lt"/>
          <a:ea typeface="+mn-ea"/>
          <a:cs typeface="+mn-cs"/>
        </a:defRPr>
      </a:lvl3pPr>
      <a:lvl4pPr marL="1021636" algn="l" defTabSz="681091" rtl="0" eaLnBrk="1" latinLnBrk="0" hangingPunct="1">
        <a:defRPr sz="1300" kern="1200">
          <a:solidFill>
            <a:schemeClr val="tx1"/>
          </a:solidFill>
          <a:latin typeface="+mn-lt"/>
          <a:ea typeface="+mn-ea"/>
          <a:cs typeface="+mn-cs"/>
        </a:defRPr>
      </a:lvl4pPr>
      <a:lvl5pPr marL="1362183" algn="l" defTabSz="681091" rtl="0" eaLnBrk="1" latinLnBrk="0" hangingPunct="1">
        <a:defRPr sz="1300" kern="1200">
          <a:solidFill>
            <a:schemeClr val="tx1"/>
          </a:solidFill>
          <a:latin typeface="+mn-lt"/>
          <a:ea typeface="+mn-ea"/>
          <a:cs typeface="+mn-cs"/>
        </a:defRPr>
      </a:lvl5pPr>
      <a:lvl6pPr marL="1702727" algn="l" defTabSz="681091" rtl="0" eaLnBrk="1" latinLnBrk="0" hangingPunct="1">
        <a:defRPr sz="1300" kern="1200">
          <a:solidFill>
            <a:schemeClr val="tx1"/>
          </a:solidFill>
          <a:latin typeface="+mn-lt"/>
          <a:ea typeface="+mn-ea"/>
          <a:cs typeface="+mn-cs"/>
        </a:defRPr>
      </a:lvl6pPr>
      <a:lvl7pPr marL="2043272" algn="l" defTabSz="681091" rtl="0" eaLnBrk="1" latinLnBrk="0" hangingPunct="1">
        <a:defRPr sz="1300" kern="1200">
          <a:solidFill>
            <a:schemeClr val="tx1"/>
          </a:solidFill>
          <a:latin typeface="+mn-lt"/>
          <a:ea typeface="+mn-ea"/>
          <a:cs typeface="+mn-cs"/>
        </a:defRPr>
      </a:lvl7pPr>
      <a:lvl8pPr marL="2383818" algn="l" defTabSz="681091" rtl="0" eaLnBrk="1" latinLnBrk="0" hangingPunct="1">
        <a:defRPr sz="1300" kern="1200">
          <a:solidFill>
            <a:schemeClr val="tx1"/>
          </a:solidFill>
          <a:latin typeface="+mn-lt"/>
          <a:ea typeface="+mn-ea"/>
          <a:cs typeface="+mn-cs"/>
        </a:defRPr>
      </a:lvl8pPr>
      <a:lvl9pPr marL="2724363" algn="l" defTabSz="681091" rtl="0" eaLnBrk="1" latinLnBrk="0" hangingPunct="1">
        <a:defRPr sz="13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036" y="1263758"/>
            <a:ext cx="8365168" cy="512448"/>
          </a:xfrm>
          <a:prstGeom prst="rect">
            <a:avLst/>
          </a:prstGeom>
        </p:spPr>
        <p:txBody>
          <a:bodyPr vert="horz" wrap="square" lIns="0" tIns="0" rIns="0" bIns="0" rtlCol="0" anchor="t" anchorCtr="0">
            <a:normAutofit/>
          </a:bodyPr>
          <a:lstStyle/>
          <a:p>
            <a:r>
              <a:rPr lang="nb-NO" dirty="0"/>
              <a:t>Klikk for å redigere tittelstil</a:t>
            </a:r>
            <a:endParaRPr lang="en-US" dirty="0"/>
          </a:p>
        </p:txBody>
      </p:sp>
      <p:sp>
        <p:nvSpPr>
          <p:cNvPr id="3" name="Text Placeholder 2"/>
          <p:cNvSpPr>
            <a:spLocks noGrp="1"/>
          </p:cNvSpPr>
          <p:nvPr>
            <p:ph type="body" idx="1"/>
          </p:nvPr>
        </p:nvSpPr>
        <p:spPr>
          <a:xfrm>
            <a:off x="288036" y="1980248"/>
            <a:ext cx="8371046" cy="2772346"/>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2"/>
          </p:nvPr>
        </p:nvSpPr>
        <p:spPr>
          <a:xfrm>
            <a:off x="7982414" y="268201"/>
            <a:ext cx="670791" cy="268200"/>
          </a:xfrm>
          <a:prstGeom prst="rect">
            <a:avLst/>
          </a:prstGeom>
        </p:spPr>
        <p:txBody>
          <a:bodyPr vert="horz" lIns="0" tIns="0" rIns="0" bIns="0" rtlCol="0" anchor="t" anchorCtr="0">
            <a:normAutofit/>
          </a:bodyPr>
          <a:lstStyle>
            <a:lvl1pPr algn="l">
              <a:defRPr sz="695" b="1">
                <a:solidFill>
                  <a:schemeClr val="tx1"/>
                </a:solidFill>
              </a:defRPr>
            </a:lvl1pPr>
          </a:lstStyle>
          <a:p>
            <a:fld id="{205AAB6B-C8DC-467C-B8C5-F1ADB02BF221}" type="datetime1">
              <a:rPr lang="nb-NO" smtClean="0"/>
              <a:t>13.10.2021</a:t>
            </a:fld>
            <a:endParaRPr lang="nb-NO" dirty="0"/>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695" b="1">
                <a:solidFill>
                  <a:schemeClr val="tx1"/>
                </a:solidFill>
              </a:defRPr>
            </a:lvl1pPr>
          </a:lstStyle>
          <a:p>
            <a:endParaRPr lang="nb-NO" dirty="0"/>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695" b="1">
                <a:solidFill>
                  <a:schemeClr val="tx1"/>
                </a:solidFill>
              </a:defRPr>
            </a:lvl1pPr>
          </a:lstStyle>
          <a:p>
            <a:fld id="{D8865200-363A-4A27-BFE2-9D2920C8E885}" type="slidenum">
              <a:rPr lang="nb-NO" smtClean="0"/>
              <a:pPr/>
              <a:t>‹#›</a:t>
            </a:fld>
            <a:endParaRPr lang="nb-NO" dirty="0"/>
          </a:p>
        </p:txBody>
      </p:sp>
      <p:grpSp>
        <p:nvGrpSpPr>
          <p:cNvPr id="156" name="prosses2" hidden="1"/>
          <p:cNvGrpSpPr>
            <a:grpSpLocks noChangeAspect="1"/>
          </p:cNvGrpSpPr>
          <p:nvPr userDrawn="1"/>
        </p:nvGrpSpPr>
        <p:grpSpPr bwMode="auto">
          <a:xfrm>
            <a:off x="3326607" y="1307523"/>
            <a:ext cx="2492375" cy="2493531"/>
            <a:chOff x="1310" y="590"/>
            <a:chExt cx="3140" cy="3140"/>
          </a:xfrm>
        </p:grpSpPr>
        <p:sp>
          <p:nvSpPr>
            <p:cNvPr id="294" name="Freeform 63"/>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5" name="Freeform 64"/>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6" name="Freeform 65"/>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7" name="Freeform 66"/>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8" name="Freeform 67"/>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9" name="Rectangle 68"/>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1</a:t>
              </a:r>
              <a:endParaRPr lang="en-US" altLang="en-US" sz="894" dirty="0">
                <a:latin typeface="Arial" panose="020B0604020202020204" pitchFamily="34" charset="0"/>
              </a:endParaRPr>
            </a:p>
          </p:txBody>
        </p:sp>
        <p:sp>
          <p:nvSpPr>
            <p:cNvPr id="300" name="Rectangle 69"/>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2</a:t>
              </a:r>
              <a:endParaRPr lang="en-US" altLang="en-US" sz="894" dirty="0">
                <a:latin typeface="Arial" panose="020B0604020202020204" pitchFamily="34" charset="0"/>
              </a:endParaRPr>
            </a:p>
          </p:txBody>
        </p:sp>
        <p:sp>
          <p:nvSpPr>
            <p:cNvPr id="301" name="Rectangle 70"/>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4</a:t>
              </a:r>
              <a:endParaRPr lang="en-US" altLang="en-US" sz="894" dirty="0">
                <a:latin typeface="Arial" panose="020B0604020202020204" pitchFamily="34" charset="0"/>
              </a:endParaRPr>
            </a:p>
          </p:txBody>
        </p:sp>
        <p:sp>
          <p:nvSpPr>
            <p:cNvPr id="302" name="Rectangle 71"/>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3</a:t>
              </a:r>
              <a:endParaRPr lang="en-US" altLang="en-US" sz="894" dirty="0">
                <a:latin typeface="Arial" panose="020B0604020202020204" pitchFamily="34" charset="0"/>
              </a:endParaRPr>
            </a:p>
          </p:txBody>
        </p:sp>
      </p:grpSp>
      <p:grpSp>
        <p:nvGrpSpPr>
          <p:cNvPr id="157" name="prosses3" hidden="1"/>
          <p:cNvGrpSpPr>
            <a:grpSpLocks noChangeAspect="1"/>
          </p:cNvGrpSpPr>
          <p:nvPr userDrawn="1"/>
        </p:nvGrpSpPr>
        <p:grpSpPr bwMode="auto">
          <a:xfrm>
            <a:off x="3176986" y="1194761"/>
            <a:ext cx="2791618" cy="2719054"/>
            <a:chOff x="1125" y="481"/>
            <a:chExt cx="3517" cy="3424"/>
          </a:xfrm>
        </p:grpSpPr>
        <p:sp>
          <p:nvSpPr>
            <p:cNvPr id="285" name="Rectangle 75"/>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2</a:t>
              </a:r>
              <a:endParaRPr lang="en-US" altLang="en-US" sz="894" dirty="0">
                <a:latin typeface="Arial" panose="020B0604020202020204" pitchFamily="34" charset="0"/>
              </a:endParaRPr>
            </a:p>
          </p:txBody>
        </p:sp>
        <p:sp>
          <p:nvSpPr>
            <p:cNvPr id="286" name="Rectangle 76"/>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dirty="0">
                  <a:solidFill>
                    <a:srgbClr val="010101"/>
                  </a:solidFill>
                  <a:latin typeface="Arial" panose="020B0604020202020204" pitchFamily="34" charset="0"/>
                </a:rPr>
                <a:t>prosseshjulet om.</a:t>
              </a:r>
              <a:endParaRPr lang="en-US" altLang="en-US" sz="695" dirty="0">
                <a:latin typeface="Arial" panose="020B0604020202020204" pitchFamily="34" charset="0"/>
              </a:endParaRPr>
            </a:p>
          </p:txBody>
        </p:sp>
        <p:sp>
          <p:nvSpPr>
            <p:cNvPr id="287" name="Rectangle 78"/>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1</a:t>
              </a:r>
              <a:endParaRPr lang="en-US" altLang="en-US" sz="894" dirty="0">
                <a:latin typeface="Arial" panose="020B0604020202020204" pitchFamily="34" charset="0"/>
              </a:endParaRPr>
            </a:p>
          </p:txBody>
        </p:sp>
        <p:sp>
          <p:nvSpPr>
            <p:cNvPr id="288" name="Rectangle 79"/>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dirty="0">
                  <a:solidFill>
                    <a:srgbClr val="010101"/>
                  </a:solidFill>
                  <a:latin typeface="Arial" panose="020B0604020202020204" pitchFamily="34" charset="0"/>
                </a:rPr>
                <a:t>prosseshjulet om.</a:t>
              </a:r>
              <a:endParaRPr lang="en-US" altLang="en-US" sz="695" dirty="0">
                <a:latin typeface="Arial" panose="020B0604020202020204" pitchFamily="34" charset="0"/>
              </a:endParaRPr>
            </a:p>
          </p:txBody>
        </p:sp>
        <p:sp>
          <p:nvSpPr>
            <p:cNvPr id="289" name="Rectangle 81"/>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3</a:t>
              </a:r>
              <a:endParaRPr lang="en-US" altLang="en-US" sz="894" dirty="0">
                <a:latin typeface="Arial" panose="020B0604020202020204" pitchFamily="34" charset="0"/>
              </a:endParaRPr>
            </a:p>
          </p:txBody>
        </p:sp>
        <p:sp>
          <p:nvSpPr>
            <p:cNvPr id="290" name="Rectangle 82"/>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dirty="0">
                  <a:solidFill>
                    <a:srgbClr val="010101"/>
                  </a:solidFill>
                  <a:latin typeface="Arial" panose="020B0604020202020204" pitchFamily="34" charset="0"/>
                </a:rPr>
                <a:t>prosseshjulet om.</a:t>
              </a:r>
              <a:endParaRPr lang="en-US" altLang="en-US" sz="695" dirty="0">
                <a:latin typeface="Arial" panose="020B0604020202020204" pitchFamily="34" charset="0"/>
              </a:endParaRPr>
            </a:p>
          </p:txBody>
        </p:sp>
        <p:sp>
          <p:nvSpPr>
            <p:cNvPr id="291" name="Freeform 84"/>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2" name="Freeform 85"/>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3" name="Freeform 86"/>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58" name="prosses5" hidden="1"/>
          <p:cNvGrpSpPr>
            <a:grpSpLocks noChangeAspect="1"/>
          </p:cNvGrpSpPr>
          <p:nvPr userDrawn="1"/>
        </p:nvGrpSpPr>
        <p:grpSpPr bwMode="auto">
          <a:xfrm>
            <a:off x="2987675" y="1254317"/>
            <a:ext cx="3170240" cy="2599940"/>
            <a:chOff x="885" y="514"/>
            <a:chExt cx="3994" cy="3274"/>
          </a:xfrm>
        </p:grpSpPr>
        <p:sp>
          <p:nvSpPr>
            <p:cNvPr id="273" name="Freeform 133"/>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74" name="Freeform 134"/>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75" name="Freeform 135"/>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76" name="Freeform 136"/>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77" name="Rectangle 137"/>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1</a:t>
              </a:r>
              <a:endParaRPr lang="en-US" altLang="en-US" sz="894" dirty="0">
                <a:latin typeface="Arial" panose="020B0604020202020204" pitchFamily="34" charset="0"/>
              </a:endParaRPr>
            </a:p>
          </p:txBody>
        </p:sp>
        <p:sp>
          <p:nvSpPr>
            <p:cNvPr id="278" name="Rectangle 138"/>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sp>
          <p:nvSpPr>
            <p:cNvPr id="279" name="Rectangle 140"/>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4</a:t>
              </a:r>
              <a:endParaRPr lang="en-US" altLang="en-US" sz="894" dirty="0">
                <a:latin typeface="Arial" panose="020B0604020202020204" pitchFamily="34" charset="0"/>
              </a:endParaRPr>
            </a:p>
          </p:txBody>
        </p:sp>
        <p:sp>
          <p:nvSpPr>
            <p:cNvPr id="280" name="Rectangle 141"/>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sp>
          <p:nvSpPr>
            <p:cNvPr id="281" name="Rectangle 143"/>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2</a:t>
              </a:r>
              <a:endParaRPr lang="en-US" altLang="en-US" sz="894" dirty="0">
                <a:latin typeface="Arial" panose="020B0604020202020204" pitchFamily="34" charset="0"/>
              </a:endParaRPr>
            </a:p>
          </p:txBody>
        </p:sp>
        <p:sp>
          <p:nvSpPr>
            <p:cNvPr id="282" name="Rectangle 144"/>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sp>
          <p:nvSpPr>
            <p:cNvPr id="283" name="Rectangle 146"/>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3</a:t>
              </a:r>
              <a:endParaRPr lang="en-US" altLang="en-US" sz="894" dirty="0">
                <a:latin typeface="Arial" panose="020B0604020202020204" pitchFamily="34" charset="0"/>
              </a:endParaRPr>
            </a:p>
          </p:txBody>
        </p:sp>
        <p:sp>
          <p:nvSpPr>
            <p:cNvPr id="284" name="Rectangle 147"/>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grpSp>
      <p:grpSp>
        <p:nvGrpSpPr>
          <p:cNvPr id="159" name="prosses6" hidden="1"/>
          <p:cNvGrpSpPr>
            <a:grpSpLocks noChangeAspect="1"/>
          </p:cNvGrpSpPr>
          <p:nvPr userDrawn="1"/>
        </p:nvGrpSpPr>
        <p:grpSpPr bwMode="auto">
          <a:xfrm>
            <a:off x="2974181" y="954935"/>
            <a:ext cx="3197226" cy="3198706"/>
            <a:chOff x="865" y="145"/>
            <a:chExt cx="4028" cy="4028"/>
          </a:xfrm>
        </p:grpSpPr>
        <p:sp>
          <p:nvSpPr>
            <p:cNvPr id="258" name="Freeform 152"/>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59" name="Freeform 153"/>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60" name="Freeform 154"/>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61" name="Freeform 155"/>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62" name="Freeform 156"/>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63" name="Rectangle 157"/>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1</a:t>
              </a:r>
              <a:endParaRPr lang="en-US" altLang="en-US" sz="894" dirty="0">
                <a:latin typeface="Arial" panose="020B0604020202020204" pitchFamily="34" charset="0"/>
              </a:endParaRPr>
            </a:p>
          </p:txBody>
        </p:sp>
        <p:sp>
          <p:nvSpPr>
            <p:cNvPr id="264" name="Rectangle 158"/>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sp>
          <p:nvSpPr>
            <p:cNvPr id="265" name="Rectangle 159"/>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2</a:t>
              </a:r>
              <a:endParaRPr lang="en-US" altLang="en-US" sz="894" dirty="0">
                <a:latin typeface="Arial" panose="020B0604020202020204" pitchFamily="34" charset="0"/>
              </a:endParaRPr>
            </a:p>
          </p:txBody>
        </p:sp>
        <p:sp>
          <p:nvSpPr>
            <p:cNvPr id="266" name="Rectangle 160"/>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sp>
          <p:nvSpPr>
            <p:cNvPr id="267" name="Rectangle 161"/>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3</a:t>
              </a:r>
              <a:endParaRPr lang="en-US" altLang="en-US" sz="894" dirty="0">
                <a:latin typeface="Arial" panose="020B0604020202020204" pitchFamily="34" charset="0"/>
              </a:endParaRPr>
            </a:p>
          </p:txBody>
        </p:sp>
        <p:sp>
          <p:nvSpPr>
            <p:cNvPr id="268" name="Rectangle 162"/>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sp>
          <p:nvSpPr>
            <p:cNvPr id="269" name="Rectangle 163"/>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4</a:t>
              </a:r>
              <a:endParaRPr lang="en-US" altLang="en-US" sz="894" dirty="0">
                <a:latin typeface="Arial" panose="020B0604020202020204" pitchFamily="34" charset="0"/>
              </a:endParaRPr>
            </a:p>
          </p:txBody>
        </p:sp>
        <p:sp>
          <p:nvSpPr>
            <p:cNvPr id="270" name="Rectangle 164"/>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sp>
          <p:nvSpPr>
            <p:cNvPr id="271" name="Rectangle 165"/>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5</a:t>
              </a:r>
              <a:endParaRPr lang="en-US" altLang="en-US" sz="894" dirty="0">
                <a:latin typeface="Arial" panose="020B0604020202020204" pitchFamily="34" charset="0"/>
              </a:endParaRPr>
            </a:p>
          </p:txBody>
        </p:sp>
        <p:sp>
          <p:nvSpPr>
            <p:cNvPr id="272" name="Rectangle 166"/>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grpSp>
      <p:grpSp>
        <p:nvGrpSpPr>
          <p:cNvPr id="161" name="hus" hidden="1"/>
          <p:cNvGrpSpPr>
            <a:grpSpLocks noChangeAspect="1"/>
          </p:cNvGrpSpPr>
          <p:nvPr userDrawn="1"/>
        </p:nvGrpSpPr>
        <p:grpSpPr bwMode="auto">
          <a:xfrm>
            <a:off x="3996532" y="1927729"/>
            <a:ext cx="1152526" cy="1253118"/>
            <a:chOff x="2154" y="1370"/>
            <a:chExt cx="1452" cy="1578"/>
          </a:xfrm>
        </p:grpSpPr>
        <p:sp>
          <p:nvSpPr>
            <p:cNvPr id="219" name="Freeform 189"/>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0" name="Freeform 190"/>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1" name="Freeform 191"/>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2" name="Freeform 192"/>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3" name="Freeform 193"/>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4" name="Freeform 194"/>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5" name="Freeform 195"/>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6" name="Freeform 196"/>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7" name="Freeform 197"/>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8" name="Freeform 198"/>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9" name="Freeform 199"/>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0" name="Freeform 200"/>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1" name="Freeform 201"/>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2" name="Freeform 202"/>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3" name="Freeform 203"/>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4" name="Freeform 204"/>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5" name="Freeform 205"/>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6" name="Freeform 206"/>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7" name="Freeform 207"/>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8" name="Freeform 208"/>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9" name="Freeform 209"/>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40" name="Freeform 210"/>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41" name="Freeform 211"/>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62" name="app" hidden="1"/>
          <p:cNvGrpSpPr>
            <a:grpSpLocks noChangeAspect="1"/>
          </p:cNvGrpSpPr>
          <p:nvPr userDrawn="1"/>
        </p:nvGrpSpPr>
        <p:grpSpPr bwMode="auto">
          <a:xfrm>
            <a:off x="4197350" y="1946788"/>
            <a:ext cx="750888" cy="1215000"/>
            <a:chOff x="2407" y="1397"/>
            <a:chExt cx="946" cy="1530"/>
          </a:xfrm>
        </p:grpSpPr>
        <p:sp>
          <p:nvSpPr>
            <p:cNvPr id="215" name="Freeform 215"/>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6" name="Rectangle 216"/>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7" name="Oval 217"/>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8" name="Freeform 218"/>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63" name="person" hidden="1"/>
          <p:cNvGrpSpPr>
            <a:grpSpLocks noChangeAspect="1"/>
          </p:cNvGrpSpPr>
          <p:nvPr userDrawn="1"/>
        </p:nvGrpSpPr>
        <p:grpSpPr bwMode="auto">
          <a:xfrm>
            <a:off x="4187825" y="2047639"/>
            <a:ext cx="769938" cy="1013296"/>
            <a:chOff x="2395" y="1524"/>
            <a:chExt cx="970" cy="1276"/>
          </a:xfrm>
        </p:grpSpPr>
        <p:sp>
          <p:nvSpPr>
            <p:cNvPr id="211" name="Freeform 222"/>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2" name="Freeform 223"/>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3" name="Oval 224"/>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4" name="Freeform 225"/>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64" name="person_slips" hidden="1"/>
          <p:cNvGrpSpPr>
            <a:grpSpLocks noChangeAspect="1"/>
          </p:cNvGrpSpPr>
          <p:nvPr userDrawn="1"/>
        </p:nvGrpSpPr>
        <p:grpSpPr bwMode="auto">
          <a:xfrm>
            <a:off x="4187428" y="2047639"/>
            <a:ext cx="770732" cy="1013296"/>
            <a:chOff x="460" y="1095"/>
            <a:chExt cx="971" cy="1276"/>
          </a:xfrm>
        </p:grpSpPr>
        <p:sp>
          <p:nvSpPr>
            <p:cNvPr id="206" name="Freeform 229"/>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7" name="Freeform 230"/>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8" name="Oval 231"/>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9" name="Freeform 232"/>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0" name="Freeform 233"/>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65" name="gruppe" hidden="1"/>
          <p:cNvGrpSpPr>
            <a:grpSpLocks noChangeAspect="1"/>
          </p:cNvGrpSpPr>
          <p:nvPr userDrawn="1"/>
        </p:nvGrpSpPr>
        <p:grpSpPr bwMode="auto">
          <a:xfrm>
            <a:off x="3754437" y="1953140"/>
            <a:ext cx="1636715" cy="1202296"/>
            <a:chOff x="1847" y="1404"/>
            <a:chExt cx="2062" cy="1514"/>
          </a:xfrm>
        </p:grpSpPr>
        <p:sp>
          <p:nvSpPr>
            <p:cNvPr id="194" name="Freeform 237"/>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5" name="Freeform 238"/>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6" name="Oval 239"/>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7" name="Freeform 240"/>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8" name="Freeform 241"/>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9" name="Freeform 242"/>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0" name="Oval 243"/>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1" name="Freeform 244"/>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2" name="Freeform 245"/>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3" name="Freeform 246"/>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4" name="Oval 247"/>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5" name="Freeform 248"/>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sp>
        <p:nvSpPr>
          <p:cNvPr id="166" name="pilhoyre" hidden="1"/>
          <p:cNvSpPr>
            <a:spLocks/>
          </p:cNvSpPr>
          <p:nvPr userDrawn="1"/>
        </p:nvSpPr>
        <p:spPr bwMode="auto">
          <a:xfrm>
            <a:off x="4123135" y="2319229"/>
            <a:ext cx="899319" cy="470118"/>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67" name="pilvenstre" hidden="1"/>
          <p:cNvSpPr>
            <a:spLocks/>
          </p:cNvSpPr>
          <p:nvPr userDrawn="1"/>
        </p:nvSpPr>
        <p:spPr bwMode="auto">
          <a:xfrm>
            <a:off x="4123135" y="2319229"/>
            <a:ext cx="899319" cy="470118"/>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68" name="pilopp" hidden="1"/>
          <p:cNvSpPr>
            <a:spLocks/>
          </p:cNvSpPr>
          <p:nvPr userDrawn="1"/>
        </p:nvSpPr>
        <p:spPr bwMode="auto">
          <a:xfrm>
            <a:off x="4339035" y="2101244"/>
            <a:ext cx="467519" cy="906088"/>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69" name="pilned" hidden="1"/>
          <p:cNvSpPr>
            <a:spLocks/>
          </p:cNvSpPr>
          <p:nvPr userDrawn="1"/>
        </p:nvSpPr>
        <p:spPr bwMode="auto">
          <a:xfrm>
            <a:off x="4339035" y="2102038"/>
            <a:ext cx="467519" cy="904500"/>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nvGrpSpPr>
          <p:cNvPr id="170" name="prosses4" hidden="1"/>
          <p:cNvGrpSpPr/>
          <p:nvPr userDrawn="1"/>
        </p:nvGrpSpPr>
        <p:grpSpPr>
          <a:xfrm>
            <a:off x="3190168" y="1183991"/>
            <a:ext cx="2765252" cy="2740592"/>
            <a:chOff x="1949529" y="751583"/>
            <a:chExt cx="5530502" cy="5478645"/>
          </a:xfrm>
        </p:grpSpPr>
        <p:grpSp>
          <p:nvGrpSpPr>
            <p:cNvPr id="185" name="prosses4"/>
            <p:cNvGrpSpPr>
              <a:grpSpLocks noChangeAspect="1"/>
            </p:cNvGrpSpPr>
            <p:nvPr userDrawn="1"/>
          </p:nvGrpSpPr>
          <p:grpSpPr bwMode="auto">
            <a:xfrm>
              <a:off x="2255718" y="976312"/>
              <a:ext cx="4897441" cy="4897438"/>
              <a:chOff x="1336" y="615"/>
              <a:chExt cx="3085" cy="3085"/>
            </a:xfrm>
          </p:grpSpPr>
          <p:sp>
            <p:nvSpPr>
              <p:cNvPr id="190" name="Freeform 90"/>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1" name="Freeform 91"/>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2" name="Freeform 92"/>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3" name="Freeform 93"/>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sp>
          <p:nvSpPr>
            <p:cNvPr id="186" name="TekstSylinder 221"/>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t>Argument 1</a:t>
              </a:r>
              <a:endParaRPr lang="en-GB" sz="794" b="1" cap="all" dirty="0"/>
            </a:p>
          </p:txBody>
        </p:sp>
        <p:sp>
          <p:nvSpPr>
            <p:cNvPr id="187" name="TekstSylinder 227"/>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t>Argument 2</a:t>
              </a:r>
              <a:endParaRPr lang="en-GB" sz="794" b="1" cap="all" dirty="0"/>
            </a:p>
          </p:txBody>
        </p:sp>
        <p:sp>
          <p:nvSpPr>
            <p:cNvPr id="188" name="TekstSylinder 234"/>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t>Argument 3</a:t>
              </a:r>
              <a:endParaRPr lang="en-GB" sz="794" b="1" cap="all" dirty="0"/>
            </a:p>
          </p:txBody>
        </p:sp>
        <p:sp>
          <p:nvSpPr>
            <p:cNvPr id="189" name="TekstSylinder 242"/>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t>Argument 4</a:t>
              </a:r>
              <a:endParaRPr lang="en-GB" sz="794" b="1" cap="all" dirty="0"/>
            </a:p>
          </p:txBody>
        </p:sp>
      </p:grpSp>
      <p:grpSp>
        <p:nvGrpSpPr>
          <p:cNvPr id="171" name="prosses1" hidden="1"/>
          <p:cNvGrpSpPr/>
          <p:nvPr userDrawn="1"/>
        </p:nvGrpSpPr>
        <p:grpSpPr>
          <a:xfrm>
            <a:off x="3213895" y="1200715"/>
            <a:ext cx="2717801" cy="2707147"/>
            <a:chOff x="1865313" y="727076"/>
            <a:chExt cx="5435600" cy="5411787"/>
          </a:xfrm>
        </p:grpSpPr>
        <p:grpSp>
          <p:nvGrpSpPr>
            <p:cNvPr id="172" name="prosses1"/>
            <p:cNvGrpSpPr/>
            <p:nvPr userDrawn="1"/>
          </p:nvGrpSpPr>
          <p:grpSpPr>
            <a:xfrm>
              <a:off x="1865313" y="727076"/>
              <a:ext cx="5435600" cy="5411787"/>
              <a:chOff x="1865313" y="727076"/>
              <a:chExt cx="5435600" cy="5411787"/>
            </a:xfrm>
          </p:grpSpPr>
          <p:sp>
            <p:nvSpPr>
              <p:cNvPr id="178" name="Freeform 5"/>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79" name="Freeform 6"/>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80" name="Freeform 7"/>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81" name="Freeform 8"/>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82" name="Freeform 9"/>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83" name="Rectangle 56"/>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defTabSz="454011" eaLnBrk="0" fontAlgn="base" hangingPunct="0">
                  <a:spcBef>
                    <a:spcPct val="0"/>
                  </a:spcBef>
                  <a:spcAft>
                    <a:spcPct val="0"/>
                  </a:spcAft>
                </a:pPr>
                <a:r>
                  <a:rPr lang="en-US" altLang="en-US" sz="1390" b="1" dirty="0">
                    <a:solidFill>
                      <a:srgbClr val="010101"/>
                    </a:solidFill>
                    <a:latin typeface="Arial" panose="020B0604020202020204" pitchFamily="34" charset="0"/>
                  </a:rPr>
                  <a:t>Tittel</a:t>
                </a:r>
                <a:endParaRPr lang="en-US" altLang="en-US" sz="894" dirty="0">
                  <a:latin typeface="Arial" panose="020B0604020202020204" pitchFamily="34" charset="0"/>
                </a:endParaRPr>
              </a:p>
            </p:txBody>
          </p:sp>
          <p:sp>
            <p:nvSpPr>
              <p:cNvPr id="184" name="Rectangle 58"/>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894" dirty="0">
                    <a:solidFill>
                      <a:srgbClr val="010101"/>
                    </a:solidFill>
                    <a:latin typeface="Arial" panose="020B0604020202020204" pitchFamily="34" charset="0"/>
                  </a:rPr>
                  <a:t>Hva handler dette</a:t>
                </a:r>
                <a:br>
                  <a:rPr lang="en-US" altLang="en-US" sz="894" dirty="0">
                    <a:solidFill>
                      <a:srgbClr val="010101"/>
                    </a:solidFill>
                    <a:latin typeface="Arial" panose="020B0604020202020204" pitchFamily="34" charset="0"/>
                  </a:rPr>
                </a:br>
                <a:r>
                  <a:rPr lang="en-US" altLang="en-US" sz="894"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grpSp>
        <p:sp>
          <p:nvSpPr>
            <p:cNvPr id="173" name="TekstSylinder 244"/>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1</a:t>
              </a:r>
              <a:endParaRPr lang="en-GB" sz="794" b="1" cap="all" dirty="0">
                <a:solidFill>
                  <a:schemeClr val="bg1"/>
                </a:solidFill>
              </a:endParaRPr>
            </a:p>
          </p:txBody>
        </p:sp>
        <p:sp>
          <p:nvSpPr>
            <p:cNvPr id="174" name="TekstSylinder 264"/>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2</a:t>
              </a:r>
              <a:endParaRPr lang="en-GB" sz="794" b="1" cap="all" dirty="0">
                <a:solidFill>
                  <a:schemeClr val="bg1"/>
                </a:solidFill>
              </a:endParaRPr>
            </a:p>
          </p:txBody>
        </p:sp>
        <p:sp>
          <p:nvSpPr>
            <p:cNvPr id="175" name="TekstSylinder 265"/>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3</a:t>
              </a:r>
              <a:endParaRPr lang="en-GB" sz="794" b="1" cap="all" dirty="0">
                <a:solidFill>
                  <a:schemeClr val="bg1"/>
                </a:solidFill>
              </a:endParaRPr>
            </a:p>
          </p:txBody>
        </p:sp>
        <p:sp>
          <p:nvSpPr>
            <p:cNvPr id="176" name="TekstSylinder 266"/>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4</a:t>
              </a:r>
              <a:endParaRPr lang="en-GB" sz="794" b="1" cap="all" dirty="0">
                <a:solidFill>
                  <a:schemeClr val="bg1"/>
                </a:solidFill>
              </a:endParaRPr>
            </a:p>
          </p:txBody>
        </p:sp>
        <p:sp>
          <p:nvSpPr>
            <p:cNvPr id="177" name="TekstSylinder 267"/>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5</a:t>
              </a:r>
              <a:endParaRPr lang="en-GB" sz="794" b="1" cap="all" dirty="0">
                <a:solidFill>
                  <a:schemeClr val="bg1"/>
                </a:solidFill>
              </a:endParaRPr>
            </a:p>
          </p:txBody>
        </p:sp>
      </p:grpSp>
      <p:pic>
        <p:nvPicPr>
          <p:cNvPr id="309" name="Bilde 30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88036" y="288037"/>
            <a:ext cx="543600" cy="657234"/>
          </a:xfrm>
          <a:prstGeom prst="rect">
            <a:avLst/>
          </a:prstGeom>
        </p:spPr>
      </p:pic>
      <p:grpSp>
        <p:nvGrpSpPr>
          <p:cNvPr id="7" name="Verden" hidden="1"/>
          <p:cNvGrpSpPr>
            <a:grpSpLocks noChangeAspect="1"/>
          </p:cNvGrpSpPr>
          <p:nvPr userDrawn="1"/>
        </p:nvGrpSpPr>
        <p:grpSpPr bwMode="auto">
          <a:xfrm>
            <a:off x="4067176" y="2047875"/>
            <a:ext cx="1011237" cy="1012824"/>
            <a:chOff x="2585" y="369"/>
            <a:chExt cx="637" cy="638"/>
          </a:xfrm>
        </p:grpSpPr>
        <p:sp>
          <p:nvSpPr>
            <p:cNvPr id="9" name="Freeform 5"/>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 name="Freeform 6"/>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 name="Freeform 7"/>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2" name="Freeform 8"/>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 name="Freeform 9"/>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6" name="Vaskeboette" hidden="1"/>
          <p:cNvGrpSpPr>
            <a:grpSpLocks noChangeAspect="1"/>
          </p:cNvGrpSpPr>
          <p:nvPr userDrawn="1"/>
        </p:nvGrpSpPr>
        <p:grpSpPr bwMode="auto">
          <a:xfrm>
            <a:off x="4102895" y="1946276"/>
            <a:ext cx="939799" cy="1216025"/>
            <a:chOff x="1610" y="386"/>
            <a:chExt cx="592" cy="766"/>
          </a:xfrm>
        </p:grpSpPr>
        <p:sp>
          <p:nvSpPr>
            <p:cNvPr id="18" name="Freeform 13"/>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9" name="Freeform 14"/>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20" name="Freeform 15"/>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1" name="Freeform 16"/>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2" name="Freeform 17"/>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3" name="Freeform 18"/>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4" name="Freeform 19"/>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5" name="Freeform 20"/>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27" name="UtenlandskArbeidstaker" hidden="1"/>
          <p:cNvGrpSpPr>
            <a:grpSpLocks noChangeAspect="1"/>
          </p:cNvGrpSpPr>
          <p:nvPr userDrawn="1"/>
        </p:nvGrpSpPr>
        <p:grpSpPr bwMode="auto">
          <a:xfrm>
            <a:off x="4131469" y="1826418"/>
            <a:ext cx="882650" cy="1455738"/>
            <a:chOff x="1137" y="1217"/>
            <a:chExt cx="556" cy="917"/>
          </a:xfrm>
        </p:grpSpPr>
        <p:sp>
          <p:nvSpPr>
            <p:cNvPr id="29" name="Freeform 24"/>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30" name="Oval 25"/>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31" name="Freeform 26"/>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28" name="Freeform 27"/>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29" name="Freeform 28"/>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0" name="Freeform 29"/>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1" name="Freeform 30"/>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33" name="Transportmiddel_tog" hidden="1"/>
          <p:cNvGrpSpPr>
            <a:grpSpLocks noChangeAspect="1"/>
          </p:cNvGrpSpPr>
          <p:nvPr userDrawn="1"/>
        </p:nvGrpSpPr>
        <p:grpSpPr bwMode="auto">
          <a:xfrm>
            <a:off x="4068764" y="1806576"/>
            <a:ext cx="1008063" cy="1495425"/>
            <a:chOff x="3547" y="1142"/>
            <a:chExt cx="635" cy="942"/>
          </a:xfrm>
        </p:grpSpPr>
        <p:sp>
          <p:nvSpPr>
            <p:cNvPr id="135" name="Freeform 34"/>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6" name="Freeform 35"/>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7" name="Freeform 36"/>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39" name="SvartArbeid" hidden="1"/>
          <p:cNvGrpSpPr>
            <a:grpSpLocks noChangeAspect="1"/>
          </p:cNvGrpSpPr>
          <p:nvPr userDrawn="1"/>
        </p:nvGrpSpPr>
        <p:grpSpPr bwMode="auto">
          <a:xfrm>
            <a:off x="4143376" y="1974851"/>
            <a:ext cx="858838" cy="1158875"/>
            <a:chOff x="1863" y="1517"/>
            <a:chExt cx="541" cy="730"/>
          </a:xfrm>
        </p:grpSpPr>
        <p:sp>
          <p:nvSpPr>
            <p:cNvPr id="141" name="Freeform 40"/>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42" name="Oval 41"/>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43" name="Freeform 42"/>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45" name="Skjema" hidden="1"/>
          <p:cNvGrpSpPr>
            <a:grpSpLocks noChangeAspect="1"/>
          </p:cNvGrpSpPr>
          <p:nvPr userDrawn="1"/>
        </p:nvGrpSpPr>
        <p:grpSpPr bwMode="auto">
          <a:xfrm>
            <a:off x="3430589" y="1896268"/>
            <a:ext cx="2284413" cy="1316038"/>
            <a:chOff x="2733" y="2022"/>
            <a:chExt cx="1439" cy="829"/>
          </a:xfrm>
        </p:grpSpPr>
        <p:sp>
          <p:nvSpPr>
            <p:cNvPr id="147" name="Freeform 46"/>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48" name="Freeform 47"/>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49" name="Line 48"/>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0" name="Line 49"/>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1" name="Line 50"/>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2" name="Line 51"/>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3" name="Freeform 52"/>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4" name="Line 53"/>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0" name="Freeform 54"/>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1" name="Line 55"/>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2" name="Freeform 56"/>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64" name="Regnskapsfoerer" hidden="1"/>
          <p:cNvGrpSpPr>
            <a:grpSpLocks noChangeAspect="1"/>
          </p:cNvGrpSpPr>
          <p:nvPr userDrawn="1"/>
        </p:nvGrpSpPr>
        <p:grpSpPr bwMode="auto">
          <a:xfrm>
            <a:off x="4132264" y="1943101"/>
            <a:ext cx="881063" cy="1222375"/>
            <a:chOff x="3989" y="190"/>
            <a:chExt cx="555" cy="770"/>
          </a:xfrm>
        </p:grpSpPr>
        <p:sp>
          <p:nvSpPr>
            <p:cNvPr id="966" name="Freeform 60"/>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67" name="Oval 61"/>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68" name="Freeform 62"/>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70" name="Pensjonist" hidden="1"/>
          <p:cNvGrpSpPr>
            <a:grpSpLocks noChangeAspect="1"/>
          </p:cNvGrpSpPr>
          <p:nvPr userDrawn="1"/>
        </p:nvGrpSpPr>
        <p:grpSpPr bwMode="auto">
          <a:xfrm>
            <a:off x="4133057" y="1893888"/>
            <a:ext cx="879475" cy="1320801"/>
            <a:chOff x="4341" y="1057"/>
            <a:chExt cx="554" cy="832"/>
          </a:xfrm>
        </p:grpSpPr>
        <p:sp>
          <p:nvSpPr>
            <p:cNvPr id="972" name="Freeform 66"/>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3" name="Oval 67"/>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4" name="Freeform 68"/>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76" name="Pengeoverfoering" hidden="1"/>
          <p:cNvGrpSpPr>
            <a:grpSpLocks noChangeAspect="1"/>
          </p:cNvGrpSpPr>
          <p:nvPr userDrawn="1"/>
        </p:nvGrpSpPr>
        <p:grpSpPr bwMode="auto">
          <a:xfrm>
            <a:off x="3571082" y="1752601"/>
            <a:ext cx="2003425" cy="1603375"/>
            <a:chOff x="2307" y="187"/>
            <a:chExt cx="1262" cy="1010"/>
          </a:xfrm>
        </p:grpSpPr>
        <p:sp>
          <p:nvSpPr>
            <p:cNvPr id="978" name="Freeform 72"/>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9" name="Freeform 73"/>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0" name="Freeform 74"/>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1" name="Freeform 75"/>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2" name="Freeform 76"/>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3" name="Freeform 77"/>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4" name="Freeform 78"/>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5" name="Freeform 79"/>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6" name="Freeform 80"/>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7" name="Oval 81"/>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8" name="Oval 82"/>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9" name="Freeform 83"/>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0" name="Freeform 84"/>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1" name="Freeform 85"/>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2" name="Freeform 86"/>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3" name="Freeform 87"/>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4" name="Freeform 88"/>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5" name="Oval 89"/>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6" name="Oval 90"/>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7" name="Freeform 91"/>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8" name="Freeform 92"/>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9" name="Freeform 93"/>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0" name="Freeform 94"/>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1" name="Freeform 95"/>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2" name="Freeform 96"/>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3" name="Freeform 97"/>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4" name="Freeform 98"/>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5" name="Freeform 99"/>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6" name="Freeform 100"/>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7" name="Freeform 101"/>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8" name="Freeform 102"/>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9" name="Oval 103"/>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0" name="Oval 104"/>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12" name="Nettbrett" hidden="1"/>
          <p:cNvGrpSpPr>
            <a:grpSpLocks noChangeAspect="1"/>
          </p:cNvGrpSpPr>
          <p:nvPr userDrawn="1"/>
        </p:nvGrpSpPr>
        <p:grpSpPr bwMode="auto">
          <a:xfrm>
            <a:off x="3467101" y="1872457"/>
            <a:ext cx="2211388" cy="1363663"/>
            <a:chOff x="2517" y="961"/>
            <a:chExt cx="1393" cy="859"/>
          </a:xfrm>
        </p:grpSpPr>
        <p:sp>
          <p:nvSpPr>
            <p:cNvPr id="1014" name="Freeform 108"/>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5" name="Rectangle 109"/>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6" name="Oval 110"/>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18" name="Mobil" hidden="1"/>
          <p:cNvGrpSpPr>
            <a:grpSpLocks noChangeAspect="1"/>
          </p:cNvGrpSpPr>
          <p:nvPr userDrawn="1"/>
        </p:nvGrpSpPr>
        <p:grpSpPr bwMode="auto">
          <a:xfrm>
            <a:off x="3971926" y="1579563"/>
            <a:ext cx="1201738" cy="1949450"/>
            <a:chOff x="1351" y="832"/>
            <a:chExt cx="757" cy="1228"/>
          </a:xfrm>
        </p:grpSpPr>
        <p:sp>
          <p:nvSpPr>
            <p:cNvPr id="1020" name="Freeform 114"/>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1" name="Rectangle 115"/>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2" name="Oval 116"/>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24" name="Institusjon" hidden="1"/>
          <p:cNvGrpSpPr>
            <a:grpSpLocks noChangeAspect="1"/>
          </p:cNvGrpSpPr>
          <p:nvPr userDrawn="1"/>
        </p:nvGrpSpPr>
        <p:grpSpPr bwMode="auto">
          <a:xfrm>
            <a:off x="3409951" y="1926432"/>
            <a:ext cx="2325688" cy="1255712"/>
            <a:chOff x="2465" y="1978"/>
            <a:chExt cx="1465" cy="791"/>
          </a:xfrm>
        </p:grpSpPr>
        <p:sp>
          <p:nvSpPr>
            <p:cNvPr id="1026" name="Freeform 120"/>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7" name="Freeform 121"/>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8" name="Rectangle 122"/>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9" name="Freeform 123"/>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0" name="Freeform 124"/>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1" name="Freeform 125"/>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2" name="Freeform 126"/>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3" name="Freeform 127"/>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4" name="Freeform 128"/>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5" name="Freeform 129"/>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6" name="Freeform 130"/>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7" name="Freeform 131"/>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8" name="Freeform 132"/>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9" name="Freeform 133"/>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0" name="Freeform 134"/>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1" name="Freeform 135"/>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2" name="Freeform 136"/>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3" name="Freeform 137"/>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4" name="Freeform 138"/>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5" name="Freeform 139"/>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6" name="Freeform 140"/>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7" name="Line 141"/>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48" name="Line 142"/>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49" name="Line 143"/>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50" name="Line 144"/>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52" name="Handpenger" hidden="1"/>
          <p:cNvGrpSpPr>
            <a:grpSpLocks noChangeAspect="1"/>
          </p:cNvGrpSpPr>
          <p:nvPr userDrawn="1"/>
        </p:nvGrpSpPr>
        <p:grpSpPr bwMode="auto">
          <a:xfrm>
            <a:off x="3331369" y="1750219"/>
            <a:ext cx="2482850" cy="1608138"/>
            <a:chOff x="2178" y="950"/>
            <a:chExt cx="1564" cy="1013"/>
          </a:xfrm>
        </p:grpSpPr>
        <p:sp>
          <p:nvSpPr>
            <p:cNvPr id="1054" name="Freeform 148"/>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5" name="Rectangle 149"/>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6" name="Freeform 150"/>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7" name="Rectangle 151"/>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8" name="Freeform 152"/>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59" name="Freeform 153"/>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0" name="Freeform 154"/>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1" name="Freeform 155"/>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63" name="Familie" hidden="1"/>
          <p:cNvGrpSpPr>
            <a:grpSpLocks noChangeAspect="1"/>
          </p:cNvGrpSpPr>
          <p:nvPr userDrawn="1"/>
        </p:nvGrpSpPr>
        <p:grpSpPr bwMode="auto">
          <a:xfrm>
            <a:off x="3744119" y="1870076"/>
            <a:ext cx="1657350" cy="1368425"/>
            <a:chOff x="2484" y="566"/>
            <a:chExt cx="1044" cy="862"/>
          </a:xfrm>
        </p:grpSpPr>
        <p:sp>
          <p:nvSpPr>
            <p:cNvPr id="1065" name="Freeform 159"/>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6" name="Oval 160"/>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7" name="Freeform 161"/>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68" name="Oval 162"/>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69" name="Freeform 163"/>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0" name="Oval 164"/>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1" name="Freeform 165"/>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2" name="Oval 166"/>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3" name="Line 167"/>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4" name="Line 168"/>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5" name="Line 169"/>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6" name="Freeform 170"/>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7" name="Freeform 171"/>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8" name="Freeform 172"/>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9" name="Freeform 173"/>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0" name="Freeform 174"/>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82" name="Ektepar" hidden="1"/>
          <p:cNvGrpSpPr>
            <a:grpSpLocks noChangeAspect="1"/>
          </p:cNvGrpSpPr>
          <p:nvPr userDrawn="1"/>
        </p:nvGrpSpPr>
        <p:grpSpPr bwMode="auto">
          <a:xfrm>
            <a:off x="3798094" y="1906587"/>
            <a:ext cx="1549400" cy="1295400"/>
            <a:chOff x="1152" y="582"/>
            <a:chExt cx="976" cy="816"/>
          </a:xfrm>
        </p:grpSpPr>
        <p:sp>
          <p:nvSpPr>
            <p:cNvPr id="1084" name="Freeform 178"/>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5" name="Oval 179"/>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6" name="Freeform 180"/>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7" name="Freeform 181"/>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8" name="Oval 182"/>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9" name="Freeform 183"/>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91" name="Byggekloss" hidden="1"/>
          <p:cNvGrpSpPr>
            <a:grpSpLocks noChangeAspect="1"/>
          </p:cNvGrpSpPr>
          <p:nvPr userDrawn="1"/>
        </p:nvGrpSpPr>
        <p:grpSpPr bwMode="auto">
          <a:xfrm>
            <a:off x="3734594" y="2005807"/>
            <a:ext cx="1676400" cy="1096962"/>
            <a:chOff x="2705" y="1748"/>
            <a:chExt cx="1056" cy="691"/>
          </a:xfrm>
        </p:grpSpPr>
        <p:sp>
          <p:nvSpPr>
            <p:cNvPr id="1093" name="Rectangle 187"/>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4" name="Rectangle 188"/>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5" name="Rectangle 189"/>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6" name="Rectangle 190"/>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7" name="Rectangle 191"/>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8" name="Freeform 192"/>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9" name="Freeform 193"/>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0" name="Freeform 194"/>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1" name="Freeform 195"/>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2" name="Rectangle 196"/>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3" name="Rectangle 197"/>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4" name="Rectangle 198"/>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06" name="Baby" hidden="1"/>
          <p:cNvGrpSpPr>
            <a:grpSpLocks noChangeAspect="1"/>
          </p:cNvGrpSpPr>
          <p:nvPr userDrawn="1"/>
        </p:nvGrpSpPr>
        <p:grpSpPr bwMode="auto">
          <a:xfrm>
            <a:off x="4132264" y="1843088"/>
            <a:ext cx="881063" cy="1422400"/>
            <a:chOff x="3889" y="1680"/>
            <a:chExt cx="555" cy="896"/>
          </a:xfrm>
        </p:grpSpPr>
        <p:sp>
          <p:nvSpPr>
            <p:cNvPr id="1108" name="Freeform 202"/>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109" name="Line 203"/>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10" name="Freeform 204"/>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1" name="Oval 205"/>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2" name="Oval 206"/>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3" name="Oval 207"/>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15" name="Utropstegn" hidden="1"/>
          <p:cNvGrpSpPr>
            <a:grpSpLocks noChangeAspect="1"/>
          </p:cNvGrpSpPr>
          <p:nvPr userDrawn="1"/>
        </p:nvGrpSpPr>
        <p:grpSpPr bwMode="auto">
          <a:xfrm>
            <a:off x="4279902" y="1889125"/>
            <a:ext cx="280987" cy="1117600"/>
            <a:chOff x="2696" y="1190"/>
            <a:chExt cx="177" cy="704"/>
          </a:xfrm>
        </p:grpSpPr>
        <p:sp>
          <p:nvSpPr>
            <p:cNvPr id="1117" name="Freeform 211"/>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8" name="Oval 212"/>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20" name="penger" hidden="1"/>
          <p:cNvGrpSpPr>
            <a:grpSpLocks noChangeAspect="1"/>
          </p:cNvGrpSpPr>
          <p:nvPr userDrawn="1"/>
        </p:nvGrpSpPr>
        <p:grpSpPr bwMode="auto">
          <a:xfrm>
            <a:off x="3976689" y="1817688"/>
            <a:ext cx="1150938" cy="995362"/>
            <a:chOff x="2505" y="1145"/>
            <a:chExt cx="725" cy="627"/>
          </a:xfrm>
        </p:grpSpPr>
        <p:sp>
          <p:nvSpPr>
            <p:cNvPr id="1122" name="Freeform 216"/>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3" name="Freeform 217"/>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4" name="Freeform 218"/>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5" name="Freeform 219"/>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6" name="Freeform 220"/>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7" name="Freeform 221"/>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8" name="Freeform 222"/>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9" name="Freeform 223"/>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0" name="Oval 224"/>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1" name="Oval 225"/>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2" name="Freeform 226"/>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3" name="Freeform 227"/>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4" name="Freeform 228"/>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5" name="Freeform 229"/>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6" name="Freeform 230"/>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7" name="Freeform 231"/>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8" name="Oval 232"/>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9" name="Oval 233"/>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0" name="Freeform 234"/>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1" name="Freeform 235"/>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2" name="Freeform 236"/>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3" name="Freeform 237"/>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4" name="Freeform 238"/>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5" name="Freeform 239"/>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6" name="Freeform 240"/>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7" name="Freeform 241"/>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8" name="Freeform 242"/>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9" name="Freeform 243"/>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50" name="Freeform 244"/>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51" name="Freeform 245"/>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52" name="Oval 246"/>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53" name="Oval 247"/>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spTree>
    <p:extLst>
      <p:ext uri="{BB962C8B-B14F-4D97-AF65-F5344CB8AC3E}">
        <p14:creationId xmlns:p14="http://schemas.microsoft.com/office/powerpoint/2010/main" val="2373813906"/>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Lst>
  <p:hf sldNum="0" hdr="0" ftr="0" dt="0"/>
  <p:txStyles>
    <p:titleStyle>
      <a:lvl1pPr algn="l" defTabSz="676341" rtl="0" eaLnBrk="1" latinLnBrk="0" hangingPunct="1">
        <a:lnSpc>
          <a:spcPct val="90000"/>
        </a:lnSpc>
        <a:spcBef>
          <a:spcPct val="0"/>
        </a:spcBef>
        <a:buNone/>
        <a:defRPr sz="3674" b="1" kern="1200">
          <a:solidFill>
            <a:schemeClr val="tx1"/>
          </a:solidFill>
          <a:latin typeface="+mj-lt"/>
          <a:ea typeface="+mj-ea"/>
          <a:cs typeface="+mj-cs"/>
        </a:defRPr>
      </a:lvl1pPr>
    </p:titleStyle>
    <p:bodyStyle>
      <a:lvl1pPr marL="169085" indent="-169085" algn="l" defTabSz="676341" rtl="0" eaLnBrk="1" latinLnBrk="0" hangingPunct="1">
        <a:lnSpc>
          <a:spcPct val="90000"/>
        </a:lnSpc>
        <a:spcBef>
          <a:spcPts val="740"/>
        </a:spcBef>
        <a:buFont typeface="Arial" panose="020B0604020202020204" pitchFamily="34" charset="0"/>
        <a:buChar char="•"/>
        <a:defRPr sz="1788" kern="1200">
          <a:solidFill>
            <a:schemeClr val="tx1"/>
          </a:solidFill>
          <a:latin typeface="+mn-lt"/>
          <a:ea typeface="+mn-ea"/>
          <a:cs typeface="+mn-cs"/>
        </a:defRPr>
      </a:lvl1pPr>
      <a:lvl2pPr marL="507257" indent="-169085" algn="l" defTabSz="676341" rtl="0" eaLnBrk="1" latinLnBrk="0" hangingPunct="1">
        <a:lnSpc>
          <a:spcPct val="90000"/>
        </a:lnSpc>
        <a:spcBef>
          <a:spcPts val="370"/>
        </a:spcBef>
        <a:buFont typeface="Arial" panose="020B0604020202020204" pitchFamily="34" charset="0"/>
        <a:buChar char="•"/>
        <a:defRPr sz="1589" kern="1200">
          <a:solidFill>
            <a:schemeClr val="tx1"/>
          </a:solidFill>
          <a:latin typeface="+mn-lt"/>
          <a:ea typeface="+mn-ea"/>
          <a:cs typeface="+mn-cs"/>
        </a:defRPr>
      </a:lvl2pPr>
      <a:lvl3pPr marL="845426" indent="-169085" algn="l" defTabSz="676341" rtl="0" eaLnBrk="1" latinLnBrk="0" hangingPunct="1">
        <a:lnSpc>
          <a:spcPct val="90000"/>
        </a:lnSpc>
        <a:spcBef>
          <a:spcPts val="370"/>
        </a:spcBef>
        <a:buFont typeface="Arial" panose="020B0604020202020204" pitchFamily="34" charset="0"/>
        <a:buChar char="•"/>
        <a:defRPr sz="1490" kern="1200">
          <a:solidFill>
            <a:schemeClr val="tx1"/>
          </a:solidFill>
          <a:latin typeface="+mn-lt"/>
          <a:ea typeface="+mn-ea"/>
          <a:cs typeface="+mn-cs"/>
        </a:defRPr>
      </a:lvl3pPr>
      <a:lvl4pPr marL="1183596"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4pPr>
      <a:lvl5pPr marL="1521767" indent="-169085" algn="l" defTabSz="676341" rtl="0" eaLnBrk="1" latinLnBrk="0" hangingPunct="1">
        <a:lnSpc>
          <a:spcPct val="90000"/>
        </a:lnSpc>
        <a:spcBef>
          <a:spcPts val="370"/>
        </a:spcBef>
        <a:buFont typeface="Arial" panose="020B0604020202020204" pitchFamily="34" charset="0"/>
        <a:buChar char="•"/>
        <a:defRPr sz="1192" kern="1200">
          <a:solidFill>
            <a:schemeClr val="tx1"/>
          </a:solidFill>
          <a:latin typeface="+mn-lt"/>
          <a:ea typeface="+mn-ea"/>
          <a:cs typeface="+mn-cs"/>
        </a:defRPr>
      </a:lvl5pPr>
      <a:lvl6pPr marL="1859938"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6pPr>
      <a:lvl7pPr marL="219810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7pPr>
      <a:lvl8pPr marL="253627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8pPr>
      <a:lvl9pPr marL="287444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9pPr>
    </p:bodyStyle>
    <p:otherStyle>
      <a:defPPr>
        <a:defRPr lang="en-US"/>
      </a:defPPr>
      <a:lvl1pPr marL="0" algn="l" defTabSz="676341" rtl="0" eaLnBrk="1" latinLnBrk="0" hangingPunct="1">
        <a:defRPr sz="1291" kern="1200">
          <a:solidFill>
            <a:schemeClr val="tx1"/>
          </a:solidFill>
          <a:latin typeface="+mn-lt"/>
          <a:ea typeface="+mn-ea"/>
          <a:cs typeface="+mn-cs"/>
        </a:defRPr>
      </a:lvl1pPr>
      <a:lvl2pPr marL="338170" algn="l" defTabSz="676341" rtl="0" eaLnBrk="1" latinLnBrk="0" hangingPunct="1">
        <a:defRPr sz="1291" kern="1200">
          <a:solidFill>
            <a:schemeClr val="tx1"/>
          </a:solidFill>
          <a:latin typeface="+mn-lt"/>
          <a:ea typeface="+mn-ea"/>
          <a:cs typeface="+mn-cs"/>
        </a:defRPr>
      </a:lvl2pPr>
      <a:lvl3pPr marL="676341" algn="l" defTabSz="676341" rtl="0" eaLnBrk="1" latinLnBrk="0" hangingPunct="1">
        <a:defRPr sz="1291" kern="1200">
          <a:solidFill>
            <a:schemeClr val="tx1"/>
          </a:solidFill>
          <a:latin typeface="+mn-lt"/>
          <a:ea typeface="+mn-ea"/>
          <a:cs typeface="+mn-cs"/>
        </a:defRPr>
      </a:lvl3pPr>
      <a:lvl4pPr marL="1014511" algn="l" defTabSz="676341" rtl="0" eaLnBrk="1" latinLnBrk="0" hangingPunct="1">
        <a:defRPr sz="1291" kern="1200">
          <a:solidFill>
            <a:schemeClr val="tx1"/>
          </a:solidFill>
          <a:latin typeface="+mn-lt"/>
          <a:ea typeface="+mn-ea"/>
          <a:cs typeface="+mn-cs"/>
        </a:defRPr>
      </a:lvl4pPr>
      <a:lvl5pPr marL="1352683" algn="l" defTabSz="676341" rtl="0" eaLnBrk="1" latinLnBrk="0" hangingPunct="1">
        <a:defRPr sz="1291" kern="1200">
          <a:solidFill>
            <a:schemeClr val="tx1"/>
          </a:solidFill>
          <a:latin typeface="+mn-lt"/>
          <a:ea typeface="+mn-ea"/>
          <a:cs typeface="+mn-cs"/>
        </a:defRPr>
      </a:lvl5pPr>
      <a:lvl6pPr marL="1690852" algn="l" defTabSz="676341" rtl="0" eaLnBrk="1" latinLnBrk="0" hangingPunct="1">
        <a:defRPr sz="1291" kern="1200">
          <a:solidFill>
            <a:schemeClr val="tx1"/>
          </a:solidFill>
          <a:latin typeface="+mn-lt"/>
          <a:ea typeface="+mn-ea"/>
          <a:cs typeface="+mn-cs"/>
        </a:defRPr>
      </a:lvl6pPr>
      <a:lvl7pPr marL="2029023" algn="l" defTabSz="676341" rtl="0" eaLnBrk="1" latinLnBrk="0" hangingPunct="1">
        <a:defRPr sz="1291" kern="1200">
          <a:solidFill>
            <a:schemeClr val="tx1"/>
          </a:solidFill>
          <a:latin typeface="+mn-lt"/>
          <a:ea typeface="+mn-ea"/>
          <a:cs typeface="+mn-cs"/>
        </a:defRPr>
      </a:lvl7pPr>
      <a:lvl8pPr marL="2367194" algn="l" defTabSz="676341" rtl="0" eaLnBrk="1" latinLnBrk="0" hangingPunct="1">
        <a:defRPr sz="1291" kern="1200">
          <a:solidFill>
            <a:schemeClr val="tx1"/>
          </a:solidFill>
          <a:latin typeface="+mn-lt"/>
          <a:ea typeface="+mn-ea"/>
          <a:cs typeface="+mn-cs"/>
        </a:defRPr>
      </a:lvl8pPr>
      <a:lvl9pPr marL="2705364" algn="l" defTabSz="676341" rtl="0" eaLnBrk="1" latinLnBrk="0" hangingPunct="1">
        <a:defRPr sz="1291"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1980" y="1296192"/>
            <a:ext cx="8515018" cy="987421"/>
          </a:xfrm>
          <a:prstGeom prst="rect">
            <a:avLst/>
          </a:prstGeom>
        </p:spPr>
        <p:txBody>
          <a:bodyPr vert="horz" lIns="0" tIns="0" rIns="0" bIns="0" rtlCol="0" anchor="t" anchorCtr="0">
            <a:normAutofit/>
          </a:bodyPr>
          <a:lstStyle/>
          <a:p>
            <a:r>
              <a:rPr lang="nb-NO" dirty="0"/>
              <a:t>Klikk for å redigere tittelstil</a:t>
            </a:r>
            <a:endParaRPr lang="en-US" dirty="0"/>
          </a:p>
        </p:txBody>
      </p:sp>
      <p:sp>
        <p:nvSpPr>
          <p:cNvPr id="3" name="Text Placeholder 2"/>
          <p:cNvSpPr>
            <a:spLocks noGrp="1"/>
          </p:cNvSpPr>
          <p:nvPr>
            <p:ph type="body" idx="1"/>
          </p:nvPr>
        </p:nvSpPr>
        <p:spPr>
          <a:xfrm>
            <a:off x="321980" y="2743688"/>
            <a:ext cx="8515018" cy="2093302"/>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2"/>
          </p:nvPr>
        </p:nvSpPr>
        <p:spPr>
          <a:xfrm>
            <a:off x="7982414" y="268201"/>
            <a:ext cx="670791" cy="268200"/>
          </a:xfrm>
          <a:prstGeom prst="rect">
            <a:avLst/>
          </a:prstGeom>
        </p:spPr>
        <p:txBody>
          <a:bodyPr vert="horz" lIns="0" tIns="0" rIns="0" bIns="0" rtlCol="0" anchor="t" anchorCtr="0">
            <a:normAutofit/>
          </a:bodyPr>
          <a:lstStyle>
            <a:lvl1pPr algn="l">
              <a:defRPr sz="695" b="1">
                <a:solidFill>
                  <a:schemeClr val="tx1"/>
                </a:solidFill>
              </a:defRPr>
            </a:lvl1pPr>
          </a:lstStyle>
          <a:p>
            <a:fld id="{A925799E-84BC-4161-A2BE-305BF3CD3D33}" type="datetime4">
              <a:rPr lang="nb-NO" smtClean="0">
                <a:solidFill>
                  <a:prstClr val="black"/>
                </a:solidFill>
              </a:rPr>
              <a:pPr/>
              <a:t>13. oktober 2021</a:t>
            </a:fld>
            <a:endParaRPr lang="nb-NO">
              <a:solidFill>
                <a:prstClr val="black"/>
              </a:solidFill>
            </a:endParaRPr>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695" b="1">
                <a:solidFill>
                  <a:schemeClr val="tx1"/>
                </a:solidFill>
              </a:defRPr>
            </a:lvl1pPr>
          </a:lstStyle>
          <a:p>
            <a:endParaRPr lang="nb-NO" dirty="0">
              <a:solidFill>
                <a:prstClr val="black"/>
              </a:solidFill>
            </a:endParaRPr>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695" b="1">
                <a:solidFill>
                  <a:schemeClr val="tx1"/>
                </a:solidFill>
              </a:defRPr>
            </a:lvl1pPr>
          </a:lstStyle>
          <a:p>
            <a:fld id="{D8865200-363A-4A27-BFE2-9D2920C8E885}" type="slidenum">
              <a:rPr lang="nb-NO" smtClean="0">
                <a:solidFill>
                  <a:prstClr val="black"/>
                </a:solidFill>
              </a:rPr>
              <a:pPr/>
              <a:t>‹#›</a:t>
            </a:fld>
            <a:endParaRPr lang="nb-NO">
              <a:solidFill>
                <a:prstClr val="black"/>
              </a:solidFill>
            </a:endParaRPr>
          </a:p>
        </p:txBody>
      </p:sp>
      <p:pic>
        <p:nvPicPr>
          <p:cNvPr id="9" name="Bilde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88036" y="288037"/>
            <a:ext cx="543600" cy="657234"/>
          </a:xfrm>
          <a:prstGeom prst="rect">
            <a:avLst/>
          </a:prstGeom>
        </p:spPr>
      </p:pic>
    </p:spTree>
    <p:extLst>
      <p:ext uri="{BB962C8B-B14F-4D97-AF65-F5344CB8AC3E}">
        <p14:creationId xmlns:p14="http://schemas.microsoft.com/office/powerpoint/2010/main" val="178551083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Lst>
  <p:hf sldNum="0" hdr="0" ftr="0"/>
  <p:txStyles>
    <p:titleStyle>
      <a:lvl1pPr algn="l" defTabSz="676341" rtl="0" eaLnBrk="1" latinLnBrk="0" hangingPunct="1">
        <a:lnSpc>
          <a:spcPct val="90000"/>
        </a:lnSpc>
        <a:spcBef>
          <a:spcPct val="0"/>
        </a:spcBef>
        <a:buNone/>
        <a:defRPr sz="3674" b="1" kern="1200">
          <a:solidFill>
            <a:schemeClr val="tx1"/>
          </a:solidFill>
          <a:latin typeface="+mj-lt"/>
          <a:ea typeface="+mj-ea"/>
          <a:cs typeface="+mj-cs"/>
        </a:defRPr>
      </a:lvl1pPr>
    </p:titleStyle>
    <p:bodyStyle>
      <a:lvl1pPr marL="169085" indent="-169085" algn="l" defTabSz="676341" rtl="0" eaLnBrk="1" latinLnBrk="0" hangingPunct="1">
        <a:lnSpc>
          <a:spcPct val="100000"/>
        </a:lnSpc>
        <a:spcBef>
          <a:spcPts val="740"/>
        </a:spcBef>
        <a:buFont typeface="Arial" panose="020B0604020202020204" pitchFamily="34" charset="0"/>
        <a:buChar char="•"/>
        <a:defRPr sz="1788" kern="1200">
          <a:solidFill>
            <a:schemeClr val="tx1"/>
          </a:solidFill>
          <a:latin typeface="+mn-lt"/>
          <a:ea typeface="+mn-ea"/>
          <a:cs typeface="+mn-cs"/>
        </a:defRPr>
      </a:lvl1pPr>
      <a:lvl2pPr marL="507257" indent="-169085" algn="l" defTabSz="676341" rtl="0" eaLnBrk="1" latinLnBrk="0" hangingPunct="1">
        <a:lnSpc>
          <a:spcPct val="100000"/>
        </a:lnSpc>
        <a:spcBef>
          <a:spcPts val="370"/>
        </a:spcBef>
        <a:buFont typeface="Arial" panose="020B0604020202020204" pitchFamily="34" charset="0"/>
        <a:buChar char="•"/>
        <a:defRPr sz="1589" kern="1200">
          <a:solidFill>
            <a:schemeClr val="tx1"/>
          </a:solidFill>
          <a:latin typeface="+mn-lt"/>
          <a:ea typeface="+mn-ea"/>
          <a:cs typeface="+mn-cs"/>
        </a:defRPr>
      </a:lvl2pPr>
      <a:lvl3pPr marL="845426" indent="-169085" algn="l" defTabSz="676341" rtl="0" eaLnBrk="1" latinLnBrk="0" hangingPunct="1">
        <a:lnSpc>
          <a:spcPct val="100000"/>
        </a:lnSpc>
        <a:spcBef>
          <a:spcPts val="370"/>
        </a:spcBef>
        <a:buFont typeface="Arial" panose="020B0604020202020204" pitchFamily="34" charset="0"/>
        <a:buChar char="•"/>
        <a:defRPr sz="1490" kern="1200">
          <a:solidFill>
            <a:schemeClr val="tx1"/>
          </a:solidFill>
          <a:latin typeface="+mn-lt"/>
          <a:ea typeface="+mn-ea"/>
          <a:cs typeface="+mn-cs"/>
        </a:defRPr>
      </a:lvl3pPr>
      <a:lvl4pPr marL="1183596" indent="-169085" algn="l" defTabSz="676341" rtl="0" eaLnBrk="1" latinLnBrk="0" hangingPunct="1">
        <a:lnSpc>
          <a:spcPct val="100000"/>
        </a:lnSpc>
        <a:spcBef>
          <a:spcPts val="370"/>
        </a:spcBef>
        <a:buFont typeface="Arial" panose="020B0604020202020204" pitchFamily="34" charset="0"/>
        <a:buChar char="•"/>
        <a:defRPr sz="1291" kern="1200">
          <a:solidFill>
            <a:schemeClr val="tx1"/>
          </a:solidFill>
          <a:latin typeface="+mn-lt"/>
          <a:ea typeface="+mn-ea"/>
          <a:cs typeface="+mn-cs"/>
        </a:defRPr>
      </a:lvl4pPr>
      <a:lvl5pPr marL="1521767" indent="-169085" algn="l" defTabSz="676341" rtl="0" eaLnBrk="1" latinLnBrk="0" hangingPunct="1">
        <a:lnSpc>
          <a:spcPct val="100000"/>
        </a:lnSpc>
        <a:spcBef>
          <a:spcPts val="370"/>
        </a:spcBef>
        <a:buFont typeface="Arial" panose="020B0604020202020204" pitchFamily="34" charset="0"/>
        <a:buChar char="•"/>
        <a:defRPr sz="1192" kern="1200">
          <a:solidFill>
            <a:schemeClr val="tx1"/>
          </a:solidFill>
          <a:latin typeface="+mn-lt"/>
          <a:ea typeface="+mn-ea"/>
          <a:cs typeface="+mn-cs"/>
        </a:defRPr>
      </a:lvl5pPr>
      <a:lvl6pPr marL="1859938"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6pPr>
      <a:lvl7pPr marL="219810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7pPr>
      <a:lvl8pPr marL="253627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8pPr>
      <a:lvl9pPr marL="287444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9pPr>
    </p:bodyStyle>
    <p:otherStyle>
      <a:defPPr>
        <a:defRPr lang="en-US"/>
      </a:defPPr>
      <a:lvl1pPr marL="0" algn="l" defTabSz="676341" rtl="0" eaLnBrk="1" latinLnBrk="0" hangingPunct="1">
        <a:defRPr sz="1291" kern="1200">
          <a:solidFill>
            <a:schemeClr val="tx1"/>
          </a:solidFill>
          <a:latin typeface="+mn-lt"/>
          <a:ea typeface="+mn-ea"/>
          <a:cs typeface="+mn-cs"/>
        </a:defRPr>
      </a:lvl1pPr>
      <a:lvl2pPr marL="338170" algn="l" defTabSz="676341" rtl="0" eaLnBrk="1" latinLnBrk="0" hangingPunct="1">
        <a:defRPr sz="1291" kern="1200">
          <a:solidFill>
            <a:schemeClr val="tx1"/>
          </a:solidFill>
          <a:latin typeface="+mn-lt"/>
          <a:ea typeface="+mn-ea"/>
          <a:cs typeface="+mn-cs"/>
        </a:defRPr>
      </a:lvl2pPr>
      <a:lvl3pPr marL="676341" algn="l" defTabSz="676341" rtl="0" eaLnBrk="1" latinLnBrk="0" hangingPunct="1">
        <a:defRPr sz="1291" kern="1200">
          <a:solidFill>
            <a:schemeClr val="tx1"/>
          </a:solidFill>
          <a:latin typeface="+mn-lt"/>
          <a:ea typeface="+mn-ea"/>
          <a:cs typeface="+mn-cs"/>
        </a:defRPr>
      </a:lvl3pPr>
      <a:lvl4pPr marL="1014511" algn="l" defTabSz="676341" rtl="0" eaLnBrk="1" latinLnBrk="0" hangingPunct="1">
        <a:defRPr sz="1291" kern="1200">
          <a:solidFill>
            <a:schemeClr val="tx1"/>
          </a:solidFill>
          <a:latin typeface="+mn-lt"/>
          <a:ea typeface="+mn-ea"/>
          <a:cs typeface="+mn-cs"/>
        </a:defRPr>
      </a:lvl4pPr>
      <a:lvl5pPr marL="1352683" algn="l" defTabSz="676341" rtl="0" eaLnBrk="1" latinLnBrk="0" hangingPunct="1">
        <a:defRPr sz="1291" kern="1200">
          <a:solidFill>
            <a:schemeClr val="tx1"/>
          </a:solidFill>
          <a:latin typeface="+mn-lt"/>
          <a:ea typeface="+mn-ea"/>
          <a:cs typeface="+mn-cs"/>
        </a:defRPr>
      </a:lvl5pPr>
      <a:lvl6pPr marL="1690852" algn="l" defTabSz="676341" rtl="0" eaLnBrk="1" latinLnBrk="0" hangingPunct="1">
        <a:defRPr sz="1291" kern="1200">
          <a:solidFill>
            <a:schemeClr val="tx1"/>
          </a:solidFill>
          <a:latin typeface="+mn-lt"/>
          <a:ea typeface="+mn-ea"/>
          <a:cs typeface="+mn-cs"/>
        </a:defRPr>
      </a:lvl6pPr>
      <a:lvl7pPr marL="2029023" algn="l" defTabSz="676341" rtl="0" eaLnBrk="1" latinLnBrk="0" hangingPunct="1">
        <a:defRPr sz="1291" kern="1200">
          <a:solidFill>
            <a:schemeClr val="tx1"/>
          </a:solidFill>
          <a:latin typeface="+mn-lt"/>
          <a:ea typeface="+mn-ea"/>
          <a:cs typeface="+mn-cs"/>
        </a:defRPr>
      </a:lvl7pPr>
      <a:lvl8pPr marL="2367194" algn="l" defTabSz="676341" rtl="0" eaLnBrk="1" latinLnBrk="0" hangingPunct="1">
        <a:defRPr sz="1291" kern="1200">
          <a:solidFill>
            <a:schemeClr val="tx1"/>
          </a:solidFill>
          <a:latin typeface="+mn-lt"/>
          <a:ea typeface="+mn-ea"/>
          <a:cs typeface="+mn-cs"/>
        </a:defRPr>
      </a:lvl8pPr>
      <a:lvl9pPr marL="2705364" algn="l" defTabSz="676341" rtl="0" eaLnBrk="1" latinLnBrk="0" hangingPunct="1">
        <a:defRPr sz="129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628759" y="271985"/>
            <a:ext cx="7888070" cy="987422"/>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628759" y="1359922"/>
            <a:ext cx="7888070" cy="3241344"/>
          </a:xfrm>
          <a:prstGeom prst="rect">
            <a:avLst/>
          </a:prstGeom>
        </p:spPr>
        <p:txBody>
          <a:bodyPr vert="horz" lIns="91440" tIns="45720" rIns="91440" bIns="4572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628759" y="4734893"/>
            <a:ext cx="2057757" cy="271984"/>
          </a:xfrm>
          <a:prstGeom prst="rect">
            <a:avLst/>
          </a:prstGeom>
        </p:spPr>
        <p:txBody>
          <a:bodyPr vert="horz" lIns="91440" tIns="45720" rIns="91440" bIns="45720" rtlCol="0" anchor="ctr"/>
          <a:lstStyle>
            <a:lvl1pPr algn="l">
              <a:defRPr sz="894">
                <a:solidFill>
                  <a:schemeClr val="tx1">
                    <a:tint val="75000"/>
                  </a:schemeClr>
                </a:solidFill>
              </a:defRPr>
            </a:lvl1pPr>
          </a:lstStyle>
          <a:p>
            <a:fld id="{03C899A0-9405-4D6E-A312-0C12ECFB2396}" type="datetimeFigureOut">
              <a:rPr lang="nb-NO" smtClean="0"/>
              <a:t>13.10.2021</a:t>
            </a:fld>
            <a:endParaRPr lang="nb-NO"/>
          </a:p>
        </p:txBody>
      </p:sp>
      <p:sp>
        <p:nvSpPr>
          <p:cNvPr id="5" name="Plassholder for bunntekst 4"/>
          <p:cNvSpPr>
            <a:spLocks noGrp="1"/>
          </p:cNvSpPr>
          <p:nvPr>
            <p:ph type="ftr" sz="quarter" idx="3"/>
          </p:nvPr>
        </p:nvSpPr>
        <p:spPr>
          <a:xfrm>
            <a:off x="3029476" y="4734893"/>
            <a:ext cx="3086636" cy="271984"/>
          </a:xfrm>
          <a:prstGeom prst="rect">
            <a:avLst/>
          </a:prstGeom>
        </p:spPr>
        <p:txBody>
          <a:bodyPr vert="horz" lIns="91440" tIns="45720" rIns="91440" bIns="45720" rtlCol="0" anchor="ctr"/>
          <a:lstStyle>
            <a:lvl1pPr algn="ctr">
              <a:defRPr sz="894">
                <a:solidFill>
                  <a:schemeClr val="tx1">
                    <a:tint val="75000"/>
                  </a:schemeClr>
                </a:solidFill>
              </a:defRPr>
            </a:lvl1pPr>
          </a:lstStyle>
          <a:p>
            <a:endParaRPr lang="nb-NO"/>
          </a:p>
        </p:txBody>
      </p:sp>
      <p:sp>
        <p:nvSpPr>
          <p:cNvPr id="6" name="Plassholder for lysbildenummer 5"/>
          <p:cNvSpPr>
            <a:spLocks noGrp="1"/>
          </p:cNvSpPr>
          <p:nvPr>
            <p:ph type="sldNum" sz="quarter" idx="4"/>
          </p:nvPr>
        </p:nvSpPr>
        <p:spPr>
          <a:xfrm>
            <a:off x="6459072" y="4734893"/>
            <a:ext cx="2057757" cy="271984"/>
          </a:xfrm>
          <a:prstGeom prst="rect">
            <a:avLst/>
          </a:prstGeom>
        </p:spPr>
        <p:txBody>
          <a:bodyPr vert="horz" lIns="91440" tIns="45720" rIns="91440" bIns="45720" rtlCol="0" anchor="ctr"/>
          <a:lstStyle>
            <a:lvl1pPr algn="r">
              <a:defRPr sz="894">
                <a:solidFill>
                  <a:schemeClr val="tx1">
                    <a:tint val="75000"/>
                  </a:schemeClr>
                </a:solidFill>
              </a:defRPr>
            </a:lvl1pPr>
          </a:lstStyle>
          <a:p>
            <a:fld id="{517487A3-BC12-4C61-8879-C71838E06A57}" type="slidenum">
              <a:rPr lang="nb-NO" smtClean="0"/>
              <a:t>‹#›</a:t>
            </a:fld>
            <a:endParaRPr lang="nb-NO"/>
          </a:p>
        </p:txBody>
      </p:sp>
    </p:spTree>
    <p:extLst>
      <p:ext uri="{BB962C8B-B14F-4D97-AF65-F5344CB8AC3E}">
        <p14:creationId xmlns:p14="http://schemas.microsoft.com/office/powerpoint/2010/main" val="2258107314"/>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Lst>
  <p:txStyles>
    <p:titleStyle>
      <a:lvl1pPr algn="l" defTabSz="681137" rtl="0" eaLnBrk="1" latinLnBrk="0" hangingPunct="1">
        <a:lnSpc>
          <a:spcPct val="90000"/>
        </a:lnSpc>
        <a:spcBef>
          <a:spcPct val="0"/>
        </a:spcBef>
        <a:buNone/>
        <a:defRPr sz="3278" kern="1200">
          <a:solidFill>
            <a:schemeClr val="tx1"/>
          </a:solidFill>
          <a:latin typeface="+mj-lt"/>
          <a:ea typeface="+mj-ea"/>
          <a:cs typeface="+mj-cs"/>
        </a:defRPr>
      </a:lvl1pPr>
    </p:titleStyle>
    <p:bodyStyle>
      <a:lvl1pPr marL="170284" indent="-170284" algn="l" defTabSz="681137" rtl="0" eaLnBrk="1" latinLnBrk="0" hangingPunct="1">
        <a:lnSpc>
          <a:spcPct val="90000"/>
        </a:lnSpc>
        <a:spcBef>
          <a:spcPts val="745"/>
        </a:spcBef>
        <a:buFont typeface="Arial" panose="020B0604020202020204" pitchFamily="34" charset="0"/>
        <a:buChar char="•"/>
        <a:defRPr sz="2086" kern="1200">
          <a:solidFill>
            <a:schemeClr val="tx1"/>
          </a:solidFill>
          <a:latin typeface="+mn-lt"/>
          <a:ea typeface="+mn-ea"/>
          <a:cs typeface="+mn-cs"/>
        </a:defRPr>
      </a:lvl1pPr>
      <a:lvl2pPr marL="510852" indent="-170284" algn="l" defTabSz="681137" rtl="0" eaLnBrk="1" latinLnBrk="0" hangingPunct="1">
        <a:lnSpc>
          <a:spcPct val="90000"/>
        </a:lnSpc>
        <a:spcBef>
          <a:spcPts val="372"/>
        </a:spcBef>
        <a:buFont typeface="Arial" panose="020B0604020202020204" pitchFamily="34" charset="0"/>
        <a:buChar char="•"/>
        <a:defRPr sz="1788" kern="1200">
          <a:solidFill>
            <a:schemeClr val="tx1"/>
          </a:solidFill>
          <a:latin typeface="+mn-lt"/>
          <a:ea typeface="+mn-ea"/>
          <a:cs typeface="+mn-cs"/>
        </a:defRPr>
      </a:lvl2pPr>
      <a:lvl3pPr marL="851421" indent="-170284" algn="l" defTabSz="681137" rtl="0" eaLnBrk="1" latinLnBrk="0" hangingPunct="1">
        <a:lnSpc>
          <a:spcPct val="90000"/>
        </a:lnSpc>
        <a:spcBef>
          <a:spcPts val="372"/>
        </a:spcBef>
        <a:buFont typeface="Arial" panose="020B0604020202020204" pitchFamily="34" charset="0"/>
        <a:buChar char="•"/>
        <a:defRPr sz="1490" kern="1200">
          <a:solidFill>
            <a:schemeClr val="tx1"/>
          </a:solidFill>
          <a:latin typeface="+mn-lt"/>
          <a:ea typeface="+mn-ea"/>
          <a:cs typeface="+mn-cs"/>
        </a:defRPr>
      </a:lvl3pPr>
      <a:lvl4pPr marL="1191989" indent="-170284" algn="l" defTabSz="681137"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4pPr>
      <a:lvl5pPr marL="1532557" indent="-170284" algn="l" defTabSz="681137"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5pPr>
      <a:lvl6pPr marL="1873126" indent="-170284" algn="l" defTabSz="681137"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6pPr>
      <a:lvl7pPr marL="2213694" indent="-170284" algn="l" defTabSz="681137"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7pPr>
      <a:lvl8pPr marL="2554262" indent="-170284" algn="l" defTabSz="681137"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8pPr>
      <a:lvl9pPr marL="2894830" indent="-170284" algn="l" defTabSz="681137"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9pPr>
    </p:bodyStyle>
    <p:otherStyle>
      <a:defPPr>
        <a:defRPr lang="nb-NO"/>
      </a:defPPr>
      <a:lvl1pPr marL="0" algn="l" defTabSz="681137" rtl="0" eaLnBrk="1" latinLnBrk="0" hangingPunct="1">
        <a:defRPr sz="1341" kern="1200">
          <a:solidFill>
            <a:schemeClr val="tx1"/>
          </a:solidFill>
          <a:latin typeface="+mn-lt"/>
          <a:ea typeface="+mn-ea"/>
          <a:cs typeface="+mn-cs"/>
        </a:defRPr>
      </a:lvl1pPr>
      <a:lvl2pPr marL="340568" algn="l" defTabSz="681137" rtl="0" eaLnBrk="1" latinLnBrk="0" hangingPunct="1">
        <a:defRPr sz="1341" kern="1200">
          <a:solidFill>
            <a:schemeClr val="tx1"/>
          </a:solidFill>
          <a:latin typeface="+mn-lt"/>
          <a:ea typeface="+mn-ea"/>
          <a:cs typeface="+mn-cs"/>
        </a:defRPr>
      </a:lvl2pPr>
      <a:lvl3pPr marL="681137" algn="l" defTabSz="681137" rtl="0" eaLnBrk="1" latinLnBrk="0" hangingPunct="1">
        <a:defRPr sz="1341" kern="1200">
          <a:solidFill>
            <a:schemeClr val="tx1"/>
          </a:solidFill>
          <a:latin typeface="+mn-lt"/>
          <a:ea typeface="+mn-ea"/>
          <a:cs typeface="+mn-cs"/>
        </a:defRPr>
      </a:lvl3pPr>
      <a:lvl4pPr marL="1021705" algn="l" defTabSz="681137" rtl="0" eaLnBrk="1" latinLnBrk="0" hangingPunct="1">
        <a:defRPr sz="1341" kern="1200">
          <a:solidFill>
            <a:schemeClr val="tx1"/>
          </a:solidFill>
          <a:latin typeface="+mn-lt"/>
          <a:ea typeface="+mn-ea"/>
          <a:cs typeface="+mn-cs"/>
        </a:defRPr>
      </a:lvl4pPr>
      <a:lvl5pPr marL="1362273" algn="l" defTabSz="681137" rtl="0" eaLnBrk="1" latinLnBrk="0" hangingPunct="1">
        <a:defRPr sz="1341" kern="1200">
          <a:solidFill>
            <a:schemeClr val="tx1"/>
          </a:solidFill>
          <a:latin typeface="+mn-lt"/>
          <a:ea typeface="+mn-ea"/>
          <a:cs typeface="+mn-cs"/>
        </a:defRPr>
      </a:lvl5pPr>
      <a:lvl6pPr marL="1702841" algn="l" defTabSz="681137" rtl="0" eaLnBrk="1" latinLnBrk="0" hangingPunct="1">
        <a:defRPr sz="1341" kern="1200">
          <a:solidFill>
            <a:schemeClr val="tx1"/>
          </a:solidFill>
          <a:latin typeface="+mn-lt"/>
          <a:ea typeface="+mn-ea"/>
          <a:cs typeface="+mn-cs"/>
        </a:defRPr>
      </a:lvl6pPr>
      <a:lvl7pPr marL="2043410" algn="l" defTabSz="681137" rtl="0" eaLnBrk="1" latinLnBrk="0" hangingPunct="1">
        <a:defRPr sz="1341" kern="1200">
          <a:solidFill>
            <a:schemeClr val="tx1"/>
          </a:solidFill>
          <a:latin typeface="+mn-lt"/>
          <a:ea typeface="+mn-ea"/>
          <a:cs typeface="+mn-cs"/>
        </a:defRPr>
      </a:lvl7pPr>
      <a:lvl8pPr marL="2383978" algn="l" defTabSz="681137" rtl="0" eaLnBrk="1" latinLnBrk="0" hangingPunct="1">
        <a:defRPr sz="1341" kern="1200">
          <a:solidFill>
            <a:schemeClr val="tx1"/>
          </a:solidFill>
          <a:latin typeface="+mn-lt"/>
          <a:ea typeface="+mn-ea"/>
          <a:cs typeface="+mn-cs"/>
        </a:defRPr>
      </a:lvl8pPr>
      <a:lvl9pPr marL="2724546" algn="l" defTabSz="681137" rtl="0" eaLnBrk="1" latinLnBrk="0" hangingPunct="1">
        <a:defRPr sz="134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microsoft.com/office/2007/relationships/media" Target="../media/media1.mp4"/><Relationship Id="rId1" Type="http://schemas.openxmlformats.org/officeDocument/2006/relationships/video" Target="NULL" TargetMode="Externa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gif"/><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3.jpeg"/></Relationships>
</file>

<file path=ppt/slides/_rels/slide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hyperlink" Target="https://www.difi.no/fagomrader-og-tjenester/digitalisering-og-samordning/nasjonal-arkitektur/informasjonsforvaltning" TargetMode="External"/><Relationship Id="rId2" Type="http://schemas.openxmlformats.org/officeDocument/2006/relationships/image" Target="../media/image44.png"/><Relationship Id="rId1" Type="http://schemas.openxmlformats.org/officeDocument/2006/relationships/slideLayout" Target="../slideLayouts/slideLayout72.xml"/><Relationship Id="rId5" Type="http://schemas.openxmlformats.org/officeDocument/2006/relationships/image" Target="../media/image45.png"/><Relationship Id="rId4" Type="http://schemas.openxmlformats.org/officeDocument/2006/relationships/hyperlink" Target="file:///C:\Users\KMD5160\AppData\Local\Microsoft\Windows\Temporary%20Internet%20Files\Content.Outlook\VFKY5NJ0\Digitaliseringsrundskrivet%202016.docx#_ftn9"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51.xml"/></Relationships>
</file>

<file path=ppt/slides/_rels/slide2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52.png"/><Relationship Id="rId7" Type="http://schemas.openxmlformats.org/officeDocument/2006/relationships/diagramColors" Target="../diagrams/colors2.xml"/><Relationship Id="rId2" Type="http://schemas.openxmlformats.org/officeDocument/2006/relationships/image" Target="../media/image51.png"/><Relationship Id="rId1" Type="http://schemas.openxmlformats.org/officeDocument/2006/relationships/slideLayout" Target="../slideLayouts/slideLayout5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53.png"/></Relationships>
</file>

<file path=ppt/slides/_rels/slide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3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2.xml"/></Relationships>
</file>

<file path=ppt/slides/_rels/slide3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3.xml"/></Relationships>
</file>

<file path=ppt/slides/_rels/slide3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3.emf"/><Relationship Id="rId5" Type="http://schemas.openxmlformats.org/officeDocument/2006/relationships/oleObject" Target="../embeddings/oleObject2.bin"/><Relationship Id="rId4" Type="http://schemas.openxmlformats.org/officeDocument/2006/relationships/notesSlide" Target="../notesSlides/notesSlide14.xml"/></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5.xml"/><Relationship Id="rId1" Type="http://schemas.openxmlformats.org/officeDocument/2006/relationships/slideLayout" Target="../slideLayouts/slideLayout40.xml"/><Relationship Id="rId6" Type="http://schemas.openxmlformats.org/officeDocument/2006/relationships/image" Target="../media/image19.svg"/><Relationship Id="rId5" Type="http://schemas.openxmlformats.org/officeDocument/2006/relationships/image" Target="../media/image66.png"/><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3.xml"/></Relationships>
</file>

<file path=ppt/slides/_rels/slide3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60.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53.xml"/></Relationships>
</file>

<file path=ppt/slides/_rels/slide4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martinfowler.com/articles/data-monolith-to-mesh.html"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3.xml"/></Relationships>
</file>

<file path=ppt/slides/_rels/slide4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45.xml"/><Relationship Id="rId4" Type="http://schemas.openxmlformats.org/officeDocument/2006/relationships/image" Target="../media/image230.svg"/></Relationships>
</file>

<file path=ppt/slides/_rels/slide4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7.xml"/><Relationship Id="rId1" Type="http://schemas.openxmlformats.org/officeDocument/2006/relationships/slideLayout" Target="../slideLayouts/slideLayout50.xml"/></Relationships>
</file>

<file path=ppt/slides/_rels/slide4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72.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8.xml"/><Relationship Id="rId1" Type="http://schemas.openxmlformats.org/officeDocument/2006/relationships/slideLayout" Target="../slideLayouts/slideLayout72.xml"/></Relationships>
</file>

<file path=ppt/slides/_rels/slide5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9.xml"/><Relationship Id="rId1" Type="http://schemas.openxmlformats.org/officeDocument/2006/relationships/slideLayout" Target="../slideLayouts/slideLayout72.xml"/></Relationships>
</file>

<file path=ppt/slides/_rels/slide5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7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5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hyperlink" Target="mailto:geir.myrind@skatteetaten.no" TargetMode="External"/><Relationship Id="rId1" Type="http://schemas.openxmlformats.org/officeDocument/2006/relationships/slideLayout" Target="../slideLayouts/slideLayout73.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9.jpeg"/></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3.jpeg"/></Relationships>
</file>

<file path=ppt/slides/_rels/slide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DC331A9-B59F-4169-852C-66E561DEC7FF}"/>
              </a:ext>
            </a:extLst>
          </p:cNvPr>
          <p:cNvSpPr>
            <a:spLocks noGrp="1"/>
          </p:cNvSpPr>
          <p:nvPr>
            <p:ph type="title"/>
          </p:nvPr>
        </p:nvSpPr>
        <p:spPr>
          <a:xfrm>
            <a:off x="298379" y="2798604"/>
            <a:ext cx="8456821" cy="1869743"/>
          </a:xfrm>
        </p:spPr>
        <p:txBody>
          <a:bodyPr wrap="square" anchor="t">
            <a:noAutofit/>
          </a:bodyPr>
          <a:lstStyle/>
          <a:p>
            <a:r>
              <a:rPr lang="nb-NO" sz="3600" dirty="0" smtClean="0">
                <a:cs typeface="Arial"/>
              </a:rPr>
              <a:t>Statlig IT - </a:t>
            </a:r>
            <a:r>
              <a:rPr lang="nb-NO" sz="3600" dirty="0">
                <a:solidFill>
                  <a:srgbClr val="000000"/>
                </a:solidFill>
              </a:rPr>
              <a:t>S</a:t>
            </a:r>
            <a:r>
              <a:rPr lang="nb-NO" sz="3600" dirty="0" smtClean="0">
                <a:solidFill>
                  <a:srgbClr val="000000"/>
                </a:solidFill>
                <a:ea typeface="Calibri" panose="020F0502020204030204" pitchFamily="34" charset="0"/>
              </a:rPr>
              <a:t>tatus</a:t>
            </a:r>
            <a:r>
              <a:rPr lang="nb-NO" sz="3600" dirty="0">
                <a:solidFill>
                  <a:srgbClr val="000000"/>
                </a:solidFill>
                <a:ea typeface="Calibri" panose="020F0502020204030204" pitchFamily="34" charset="0"/>
              </a:rPr>
              <a:t>, styring og viktige </a:t>
            </a:r>
            <a:r>
              <a:rPr lang="nb-NO" sz="3600" dirty="0" smtClean="0">
                <a:solidFill>
                  <a:srgbClr val="000000"/>
                </a:solidFill>
                <a:ea typeface="Calibri" panose="020F0502020204030204" pitchFamily="34" charset="0"/>
              </a:rPr>
              <a:t>utfordringer</a:t>
            </a:r>
            <a:r>
              <a:rPr lang="nb-NO" sz="3600" dirty="0" smtClean="0">
                <a:solidFill>
                  <a:srgbClr val="212121"/>
                </a:solidFill>
                <a:ea typeface="Calibri" panose="020F0502020204030204" pitchFamily="34" charset="0"/>
              </a:rPr>
              <a:t> </a:t>
            </a:r>
            <a:r>
              <a:rPr lang="nb-NO" sz="3600" dirty="0" smtClean="0">
                <a:solidFill>
                  <a:srgbClr val="000000"/>
                </a:solidFill>
                <a:ea typeface="Calibri" panose="020F0502020204030204" pitchFamily="34" charset="0"/>
              </a:rPr>
              <a:t>sett fra Skatteetaten</a:t>
            </a:r>
            <a:br>
              <a:rPr lang="nb-NO" sz="3600" dirty="0" smtClean="0">
                <a:solidFill>
                  <a:srgbClr val="000000"/>
                </a:solidFill>
                <a:ea typeface="Calibri" panose="020F0502020204030204" pitchFamily="34" charset="0"/>
              </a:rPr>
            </a:br>
            <a:r>
              <a:rPr lang="nb-NO" sz="3600" dirty="0" smtClean="0">
                <a:solidFill>
                  <a:srgbClr val="000000"/>
                </a:solidFill>
                <a:ea typeface="Calibri" panose="020F0502020204030204" pitchFamily="34" charset="0"/>
              </a:rPr>
              <a:t/>
            </a:r>
            <a:br>
              <a:rPr lang="nb-NO" sz="3600" dirty="0" smtClean="0">
                <a:solidFill>
                  <a:srgbClr val="000000"/>
                </a:solidFill>
                <a:ea typeface="Calibri" panose="020F0502020204030204" pitchFamily="34" charset="0"/>
              </a:rPr>
            </a:br>
            <a:r>
              <a:rPr lang="nb-NO" sz="2000" dirty="0" smtClean="0">
                <a:solidFill>
                  <a:srgbClr val="000000"/>
                </a:solidFill>
                <a:ea typeface="Calibri" panose="020F0502020204030204" pitchFamily="34" charset="0"/>
              </a:rPr>
              <a:t>Geir Myrind, Sjefsinformasjonsarkitekt</a:t>
            </a:r>
            <a:endParaRPr lang="nb-NO" sz="3200" dirty="0">
              <a:cs typeface="Arial"/>
            </a:endParaRPr>
          </a:p>
        </p:txBody>
      </p:sp>
      <p:pic>
        <p:nvPicPr>
          <p:cNvPr id="4" name="Bilde 3" descr="Personer som deltar på et møte">
            <a:extLst>
              <a:ext uri="{FF2B5EF4-FFF2-40B4-BE49-F238E27FC236}">
                <a16:creationId xmlns:a16="http://schemas.microsoft.com/office/drawing/2014/main" id="{97FE2B71-CD56-4343-B4F1-4763838896FC}"/>
              </a:ext>
            </a:extLst>
          </p:cNvPr>
          <p:cNvPicPr>
            <a:picLocks noChangeAspect="1"/>
          </p:cNvPicPr>
          <p:nvPr/>
        </p:nvPicPr>
        <p:blipFill rotWithShape="1">
          <a:blip r:embed="rId2"/>
          <a:srcRect l="8947" r="2226"/>
          <a:stretch/>
        </p:blipFill>
        <p:spPr>
          <a:xfrm>
            <a:off x="6051898" y="177306"/>
            <a:ext cx="2920358" cy="2199847"/>
          </a:xfrm>
          <a:prstGeom prst="rect">
            <a:avLst/>
          </a:prstGeom>
          <a:noFill/>
        </p:spPr>
      </p:pic>
    </p:spTree>
    <p:extLst>
      <p:ext uri="{BB962C8B-B14F-4D97-AF65-F5344CB8AC3E}">
        <p14:creationId xmlns:p14="http://schemas.microsoft.com/office/powerpoint/2010/main" val="27832383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Image result for secret netwo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5588" cy="5152444"/>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a:xfrm>
            <a:off x="288035" y="268201"/>
            <a:ext cx="8686999" cy="346249"/>
          </a:xfrm>
        </p:spPr>
        <p:txBody>
          <a:bodyPr/>
          <a:lstStyle/>
          <a:p>
            <a:r>
              <a:rPr lang="nb-NO" dirty="0" smtClean="0">
                <a:solidFill>
                  <a:schemeClr val="bg1"/>
                </a:solidFill>
              </a:rPr>
              <a:t>Transaksjoner flyttes til lukkede nettverk utenfor Norge</a:t>
            </a:r>
            <a:endParaRPr lang="nb-NO" dirty="0">
              <a:solidFill>
                <a:schemeClr val="bg1"/>
              </a:solidFill>
            </a:endParaRPr>
          </a:p>
        </p:txBody>
      </p:sp>
      <p:sp>
        <p:nvSpPr>
          <p:cNvPr id="3" name="Plassholder for innhold 2"/>
          <p:cNvSpPr>
            <a:spLocks noGrp="1"/>
          </p:cNvSpPr>
          <p:nvPr>
            <p:ph idx="1"/>
          </p:nvPr>
        </p:nvSpPr>
        <p:spPr/>
        <p:txBody>
          <a:bodyPr/>
          <a:lstStyle/>
          <a:p>
            <a:endParaRPr lang="nb-NO"/>
          </a:p>
        </p:txBody>
      </p:sp>
    </p:spTree>
    <p:extLst>
      <p:ext uri="{BB962C8B-B14F-4D97-AF65-F5344CB8AC3E}">
        <p14:creationId xmlns:p14="http://schemas.microsoft.com/office/powerpoint/2010/main" val="13018034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p:cNvSpPr>
            <a:spLocks noGrp="1"/>
          </p:cNvSpPr>
          <p:nvPr>
            <p:ph type="title"/>
          </p:nvPr>
        </p:nvSpPr>
        <p:spPr/>
        <p:txBody>
          <a:bodyPr/>
          <a:lstStyle/>
          <a:p>
            <a:endParaRPr lang="nb-NO"/>
          </a:p>
        </p:txBody>
      </p:sp>
      <p:pic>
        <p:nvPicPr>
          <p:cNvPr id="5" name="HOLD KÆFT, hvor det sejler inde hos SKAT">
            <a:hlinkClick r:id="" action="ppaction://media"/>
          </p:cNvPr>
          <p:cNvPicPr>
            <a:picLocks noGrp="1" noChangeAspect="1"/>
          </p:cNvPicPr>
          <p:nvPr>
            <p:ph idx="1"/>
            <a:videoFile r:link="rId1"/>
            <p:extLst>
              <p:ext uri="{DAA4B4D4-6D71-4841-9C94-3DE7FCFB9230}">
                <p14:media xmlns:p14="http://schemas.microsoft.com/office/powerpoint/2010/main" r:embed="rId2">
                  <p14:trim end="2784"/>
                </p14:media>
              </p:ext>
            </p:extLst>
          </p:nvPr>
        </p:nvPicPr>
        <p:blipFill>
          <a:blip r:embed="rId4"/>
          <a:stretch>
            <a:fillRect/>
          </a:stretch>
        </p:blipFill>
        <p:spPr>
          <a:xfrm>
            <a:off x="0" y="-1"/>
            <a:ext cx="9145588" cy="5121261"/>
          </a:xfrm>
        </p:spPr>
      </p:pic>
    </p:spTree>
    <p:extLst>
      <p:ext uri="{BB962C8B-B14F-4D97-AF65-F5344CB8AC3E}">
        <p14:creationId xmlns:p14="http://schemas.microsoft.com/office/powerpoint/2010/main" val="168774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386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a:xfrm>
            <a:off x="288036" y="1264108"/>
            <a:ext cx="8371046" cy="1024896"/>
          </a:xfrm>
        </p:spPr>
        <p:txBody>
          <a:bodyPr/>
          <a:lstStyle/>
          <a:p>
            <a:r>
              <a:rPr lang="nb-NO" dirty="0" smtClean="0"/>
              <a:t>Svindel og sikkerhetsbrudd med konsekvenser</a:t>
            </a:r>
            <a:endParaRPr lang="nb-NO" dirty="0"/>
          </a:p>
        </p:txBody>
      </p:sp>
      <p:sp>
        <p:nvSpPr>
          <p:cNvPr id="6" name="Plassholder for innhold 5"/>
          <p:cNvSpPr>
            <a:spLocks noGrp="1"/>
          </p:cNvSpPr>
          <p:nvPr>
            <p:ph idx="1"/>
          </p:nvPr>
        </p:nvSpPr>
        <p:spPr>
          <a:xfrm>
            <a:off x="288036" y="2405270"/>
            <a:ext cx="6291668" cy="2514600"/>
          </a:xfrm>
        </p:spPr>
        <p:txBody>
          <a:bodyPr>
            <a:normAutofit fontScale="85000" lnSpcReduction="20000"/>
          </a:bodyPr>
          <a:lstStyle/>
          <a:p>
            <a:r>
              <a:rPr lang="nb-NO" sz="2400" dirty="0" smtClean="0"/>
              <a:t>Danske Skat svindlet for 12,3 MRD DKK</a:t>
            </a:r>
          </a:p>
          <a:p>
            <a:r>
              <a:rPr lang="nb-NO" sz="2400" dirty="0" smtClean="0"/>
              <a:t>Nytt IT-system for innkreving vraket etter 8 uker</a:t>
            </a:r>
          </a:p>
          <a:p>
            <a:r>
              <a:rPr lang="nb-NO" sz="2400" dirty="0" smtClean="0"/>
              <a:t>Stadige saker i media om sikkerhetsbrudd</a:t>
            </a:r>
          </a:p>
          <a:p>
            <a:pPr lvl="1"/>
            <a:r>
              <a:rPr lang="nb-NO" sz="2000" dirty="0" smtClean="0"/>
              <a:t>Vesentlig bortfall av tillit i befolkningen og politisk ledelse</a:t>
            </a:r>
          </a:p>
          <a:p>
            <a:r>
              <a:rPr lang="nb-NO" sz="2400" dirty="0" smtClean="0"/>
              <a:t>Danske Skat ble nedlagt 1. juli 2018</a:t>
            </a:r>
          </a:p>
          <a:p>
            <a:pPr lvl="1"/>
            <a:r>
              <a:rPr lang="nb-NO" sz="2000" dirty="0" smtClean="0"/>
              <a:t>Statsminister og Finansminister hadde ingen tillit til ledelsen og organisasjonen</a:t>
            </a:r>
          </a:p>
          <a:p>
            <a:pPr lvl="1"/>
            <a:r>
              <a:rPr lang="nb-NO" sz="2000" dirty="0" smtClean="0"/>
              <a:t>Tre av fire siste skattedirektører fått sparken</a:t>
            </a:r>
          </a:p>
          <a:p>
            <a:r>
              <a:rPr lang="nb-NO" sz="2200" dirty="0" smtClean="0"/>
              <a:t>Ny skandale på vei om eiendomsskatt i disse dager…</a:t>
            </a:r>
          </a:p>
        </p:txBody>
      </p:sp>
      <p:sp>
        <p:nvSpPr>
          <p:cNvPr id="4" name="Plassholder for dato 3"/>
          <p:cNvSpPr>
            <a:spLocks noGrp="1"/>
          </p:cNvSpPr>
          <p:nvPr>
            <p:ph type="dt" sz="half" idx="10"/>
          </p:nvPr>
        </p:nvSpPr>
        <p:spPr/>
        <p:txBody>
          <a:bodyPr/>
          <a:lstStyle/>
          <a:p>
            <a:fld id="{587A696B-9A70-43E3-B282-79930C633F78}" type="datetime4">
              <a:rPr lang="nb-NO" smtClean="0"/>
              <a:t>13. oktober 2021</a:t>
            </a:fld>
            <a:endParaRPr lang="nb-NO" dirty="0"/>
          </a:p>
        </p:txBody>
      </p:sp>
      <p:pic>
        <p:nvPicPr>
          <p:cNvPr id="7" name="Picture 8" descr="Image result for skat danmar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3413" y="2289004"/>
            <a:ext cx="2397135" cy="1348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919332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288036" y="1264108"/>
            <a:ext cx="8371046" cy="512448"/>
          </a:xfrm>
        </p:spPr>
        <p:txBody>
          <a:bodyPr/>
          <a:lstStyle/>
          <a:p>
            <a:r>
              <a:rPr lang="nb-NO" dirty="0" smtClean="0"/>
              <a:t>Nesten ingen betalt skatt til Norge</a:t>
            </a:r>
            <a:endParaRPr lang="nb-NO" dirty="0"/>
          </a:p>
        </p:txBody>
      </p:sp>
      <p:sp>
        <p:nvSpPr>
          <p:cNvPr id="3" name="Plassholder for innhold 2"/>
          <p:cNvSpPr>
            <a:spLocks noGrp="1"/>
          </p:cNvSpPr>
          <p:nvPr>
            <p:ph idx="1"/>
          </p:nvPr>
        </p:nvSpPr>
        <p:spPr/>
        <p:txBody>
          <a:bodyPr/>
          <a:lstStyle/>
          <a:p>
            <a:endParaRPr lang="nb-NO"/>
          </a:p>
        </p:txBody>
      </p:sp>
      <p:sp>
        <p:nvSpPr>
          <p:cNvPr id="4" name="Plassholder for dato 3"/>
          <p:cNvSpPr>
            <a:spLocks noGrp="1"/>
          </p:cNvSpPr>
          <p:nvPr>
            <p:ph type="dt" sz="half" idx="10"/>
          </p:nvPr>
        </p:nvSpPr>
        <p:spPr/>
        <p:txBody>
          <a:bodyPr/>
          <a:lstStyle/>
          <a:p>
            <a:fld id="{9ACEDFA6-BCD5-4232-A6E1-61270AF02151}" type="datetime4">
              <a:rPr lang="nb-NO" smtClean="0"/>
              <a:t>13. oktober 2021</a:t>
            </a:fld>
            <a:endParaRPr lang="nb-NO" dirty="0"/>
          </a:p>
        </p:txBody>
      </p:sp>
      <p:pic>
        <p:nvPicPr>
          <p:cNvPr id="3074" name="Picture 2" descr="Image result for google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036" y="2624459"/>
            <a:ext cx="2128135" cy="2128135"/>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facebook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9175" y="1882986"/>
            <a:ext cx="2533438" cy="227160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Image result for appl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01099" y="2366512"/>
            <a:ext cx="2386081" cy="23860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Image result for starbuck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85009" y="2050003"/>
            <a:ext cx="1937571" cy="1937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081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Plassholder for lysbildenummer 1"/>
          <p:cNvSpPr>
            <a:spLocks noGrp="1"/>
          </p:cNvSpPr>
          <p:nvPr>
            <p:ph type="sldNum" sz="quarter" idx="10"/>
          </p:nvPr>
        </p:nvSpPr>
        <p:spPr bwMode="auto">
          <a:xfrm>
            <a:off x="0" y="3900808"/>
            <a:ext cx="9145588" cy="35633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eaLnBrk="1" hangingPunct="1">
              <a:lnSpc>
                <a:spcPct val="100000"/>
              </a:lnSpc>
              <a:spcBef>
                <a:spcPct val="0"/>
              </a:spcBef>
              <a:buFontTx/>
              <a:buNone/>
            </a:pPr>
            <a:fld id="{08A05240-F087-442B-B113-1F2DBF526EB6}" type="slidenum">
              <a:rPr lang="en-US" altLang="nb-NO" sz="1200" smtClean="0">
                <a:solidFill>
                  <a:srgbClr val="FFFFFF"/>
                </a:solidFill>
                <a:latin typeface="Verdana" pitchFamily="34" charset="0"/>
              </a:rPr>
              <a:pPr eaLnBrk="1" hangingPunct="1">
                <a:lnSpc>
                  <a:spcPct val="100000"/>
                </a:lnSpc>
                <a:spcBef>
                  <a:spcPct val="0"/>
                </a:spcBef>
                <a:buFontTx/>
                <a:buNone/>
              </a:pPr>
              <a:t>14</a:t>
            </a:fld>
            <a:endParaRPr lang="en-US" altLang="nb-NO" sz="1200" smtClean="0">
              <a:solidFill>
                <a:srgbClr val="FFFFFF"/>
              </a:solidFill>
              <a:latin typeface="Verdana" pitchFamily="34" charset="0"/>
            </a:endParaRPr>
          </a:p>
        </p:txBody>
      </p:sp>
      <p:sp>
        <p:nvSpPr>
          <p:cNvPr id="55299" name="Rektangel 2"/>
          <p:cNvSpPr>
            <a:spLocks noChangeArrowheads="1"/>
          </p:cNvSpPr>
          <p:nvPr/>
        </p:nvSpPr>
        <p:spPr bwMode="auto">
          <a:xfrm>
            <a:off x="5781093" y="266466"/>
            <a:ext cx="2951675" cy="368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buFontTx/>
              <a:buNone/>
            </a:pPr>
            <a:endParaRPr lang="nb-NO" altLang="nb-NO" sz="2400" smtClean="0">
              <a:solidFill>
                <a:srgbClr val="000000"/>
              </a:solidFill>
              <a:latin typeface="Calibri" pitchFamily="34" charset="0"/>
            </a:endParaRPr>
          </a:p>
        </p:txBody>
      </p:sp>
      <p:sp>
        <p:nvSpPr>
          <p:cNvPr id="55300" name="Rektangel 3"/>
          <p:cNvSpPr>
            <a:spLocks noChangeArrowheads="1"/>
          </p:cNvSpPr>
          <p:nvPr/>
        </p:nvSpPr>
        <p:spPr bwMode="auto">
          <a:xfrm>
            <a:off x="458869" y="408373"/>
            <a:ext cx="2953263" cy="368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buFontTx/>
              <a:buNone/>
            </a:pPr>
            <a:endParaRPr lang="nb-NO" altLang="nb-NO" sz="2400" smtClean="0">
              <a:solidFill>
                <a:srgbClr val="000000"/>
              </a:solidFill>
              <a:latin typeface="Calibri" pitchFamily="34" charset="0"/>
            </a:endParaRPr>
          </a:p>
        </p:txBody>
      </p:sp>
      <p:pic>
        <p:nvPicPr>
          <p:cNvPr id="5" name="Bilde 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83906" y="1541652"/>
            <a:ext cx="1602546" cy="1994379"/>
          </a:xfrm>
          <a:prstGeom prst="rect">
            <a:avLst/>
          </a:prstGeom>
          <a:effectLst>
            <a:reflection stA="0" endPos="65000" dist="50800" dir="5400000" sy="-100000" algn="bl" rotWithShape="0"/>
          </a:effectLst>
        </p:spPr>
      </p:pic>
      <p:pic>
        <p:nvPicPr>
          <p:cNvPr id="55302" name="Bil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44440" y="951393"/>
            <a:ext cx="1476631" cy="1676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3" name="TekstSylinder 6"/>
          <p:cNvSpPr txBox="1">
            <a:spLocks noChangeArrowheads="1"/>
          </p:cNvSpPr>
          <p:nvPr/>
        </p:nvSpPr>
        <p:spPr bwMode="auto">
          <a:xfrm>
            <a:off x="878603" y="1238129"/>
            <a:ext cx="1143199" cy="36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buFontTx/>
              <a:buNone/>
            </a:pPr>
            <a:r>
              <a:rPr lang="nb-NO" altLang="nb-NO" sz="1800" b="1" smtClean="0">
                <a:solidFill>
                  <a:srgbClr val="28458D"/>
                </a:solidFill>
                <a:latin typeface="Arial" pitchFamily="34" charset="0"/>
              </a:rPr>
              <a:t>Tidligere</a:t>
            </a:r>
          </a:p>
        </p:txBody>
      </p:sp>
      <p:sp>
        <p:nvSpPr>
          <p:cNvPr id="55304" name="TekstSylinder 7"/>
          <p:cNvSpPr txBox="1">
            <a:spLocks noChangeArrowheads="1"/>
          </p:cNvSpPr>
          <p:nvPr/>
        </p:nvSpPr>
        <p:spPr bwMode="auto">
          <a:xfrm>
            <a:off x="4921917" y="1238129"/>
            <a:ext cx="4796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buFontTx/>
              <a:buNone/>
            </a:pPr>
            <a:r>
              <a:rPr lang="nb-NO" altLang="nb-NO" sz="1800" b="1" dirty="0" smtClean="0">
                <a:solidFill>
                  <a:srgbClr val="28458D"/>
                </a:solidFill>
                <a:latin typeface="Arial" pitchFamily="34" charset="0"/>
              </a:rPr>
              <a:t>Nå</a:t>
            </a:r>
          </a:p>
        </p:txBody>
      </p:sp>
      <p:sp>
        <p:nvSpPr>
          <p:cNvPr id="55305" name="Rektangel 8"/>
          <p:cNvSpPr>
            <a:spLocks noChangeArrowheads="1"/>
          </p:cNvSpPr>
          <p:nvPr/>
        </p:nvSpPr>
        <p:spPr bwMode="auto">
          <a:xfrm>
            <a:off x="4805766" y="2140463"/>
            <a:ext cx="3026300" cy="1467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65138" indent="-285750"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pPr>
            <a:r>
              <a:rPr lang="nb-NO" altLang="nb-NO" sz="1800" b="1" smtClean="0">
                <a:solidFill>
                  <a:srgbClr val="28458D"/>
                </a:solidFill>
                <a:latin typeface="Arial" pitchFamily="34" charset="0"/>
              </a:rPr>
              <a:t>Globalisering</a:t>
            </a:r>
          </a:p>
          <a:p>
            <a:pPr defTabSz="457200" eaLnBrk="1" fontAlgn="base" hangingPunct="1">
              <a:lnSpc>
                <a:spcPct val="100000"/>
              </a:lnSpc>
              <a:spcBef>
                <a:spcPct val="0"/>
              </a:spcBef>
              <a:spcAft>
                <a:spcPct val="0"/>
              </a:spcAft>
            </a:pPr>
            <a:r>
              <a:rPr lang="nb-NO" altLang="nb-NO" sz="1800" b="1" smtClean="0">
                <a:solidFill>
                  <a:srgbClr val="28458D"/>
                </a:solidFill>
                <a:latin typeface="Arial" pitchFamily="34" charset="0"/>
              </a:rPr>
              <a:t>Stor mobilitet i befolkningen</a:t>
            </a:r>
          </a:p>
          <a:p>
            <a:pPr defTabSz="457200" eaLnBrk="1" fontAlgn="base" hangingPunct="1">
              <a:lnSpc>
                <a:spcPct val="100000"/>
              </a:lnSpc>
              <a:spcBef>
                <a:spcPct val="0"/>
              </a:spcBef>
              <a:spcAft>
                <a:spcPct val="0"/>
              </a:spcAft>
            </a:pPr>
            <a:r>
              <a:rPr lang="nb-NO" altLang="nb-NO" sz="1800" b="1" smtClean="0">
                <a:solidFill>
                  <a:srgbClr val="28458D"/>
                </a:solidFill>
                <a:latin typeface="Arial" pitchFamily="34" charset="0"/>
              </a:rPr>
              <a:t>ID-problematikk</a:t>
            </a:r>
          </a:p>
          <a:p>
            <a:pPr defTabSz="457200" eaLnBrk="1" fontAlgn="base" hangingPunct="1">
              <a:lnSpc>
                <a:spcPct val="100000"/>
              </a:lnSpc>
              <a:spcBef>
                <a:spcPct val="0"/>
              </a:spcBef>
              <a:spcAft>
                <a:spcPct val="0"/>
              </a:spcAft>
            </a:pPr>
            <a:r>
              <a:rPr lang="nb-NO" altLang="nb-NO" sz="1800" b="1" smtClean="0">
                <a:solidFill>
                  <a:srgbClr val="28458D"/>
                </a:solidFill>
                <a:latin typeface="Arial" pitchFamily="34" charset="0"/>
              </a:rPr>
              <a:t>Kompliserte saker</a:t>
            </a:r>
          </a:p>
        </p:txBody>
      </p:sp>
      <p:sp>
        <p:nvSpPr>
          <p:cNvPr id="55306" name="Rektangel 9"/>
          <p:cNvSpPr>
            <a:spLocks noChangeArrowheads="1"/>
          </p:cNvSpPr>
          <p:nvPr/>
        </p:nvSpPr>
        <p:spPr bwMode="auto">
          <a:xfrm>
            <a:off x="696748" y="2140463"/>
            <a:ext cx="2873874" cy="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465138" indent="-285750"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pPr>
            <a:r>
              <a:rPr lang="nb-NO" altLang="nb-NO" sz="1800" b="1" smtClean="0">
                <a:solidFill>
                  <a:srgbClr val="28458D"/>
                </a:solidFill>
                <a:latin typeface="Arial" pitchFamily="34" charset="0"/>
              </a:rPr>
              <a:t>Oversiktlig samfunn</a:t>
            </a:r>
          </a:p>
          <a:p>
            <a:pPr defTabSz="457200" eaLnBrk="1" fontAlgn="base" hangingPunct="1">
              <a:lnSpc>
                <a:spcPct val="100000"/>
              </a:lnSpc>
              <a:spcBef>
                <a:spcPct val="0"/>
              </a:spcBef>
              <a:spcAft>
                <a:spcPct val="0"/>
              </a:spcAft>
            </a:pPr>
            <a:r>
              <a:rPr lang="nb-NO" altLang="nb-NO" sz="1800" b="1" smtClean="0">
                <a:solidFill>
                  <a:srgbClr val="28458D"/>
                </a:solidFill>
                <a:latin typeface="Arial" pitchFamily="34" charset="0"/>
              </a:rPr>
              <a:t>Begrenset mobilitet</a:t>
            </a:r>
          </a:p>
        </p:txBody>
      </p:sp>
      <p:sp>
        <p:nvSpPr>
          <p:cNvPr id="12" name="TekstSylinder 11"/>
          <p:cNvSpPr txBox="1"/>
          <p:nvPr/>
        </p:nvSpPr>
        <p:spPr>
          <a:xfrm>
            <a:off x="790657" y="3720415"/>
            <a:ext cx="7545110" cy="917651"/>
          </a:xfrm>
          <a:prstGeom prst="rect">
            <a:avLst/>
          </a:prstGeom>
          <a:solidFill>
            <a:schemeClr val="tx2">
              <a:lumMod val="60000"/>
              <a:lumOff val="40000"/>
            </a:schemeClr>
          </a:solidFill>
        </p:spPr>
        <p:txBody>
          <a:bodyPr>
            <a:spAutoFit/>
          </a:bodyPr>
          <a:lstStyle/>
          <a:p>
            <a:pPr marL="285750" indent="-285750" defTabSz="457200">
              <a:buClr>
                <a:srgbClr val="FFFFFF"/>
              </a:buClr>
              <a:buFont typeface="Wingdings" panose="05000000000000000000" pitchFamily="2" charset="2"/>
              <a:buChar char="ð"/>
              <a:defRPr/>
            </a:pPr>
            <a:r>
              <a:rPr lang="nb-NO" sz="1800" dirty="0">
                <a:solidFill>
                  <a:srgbClr val="FFFFFF"/>
                </a:solidFill>
                <a:ea typeface="MS PGothic" pitchFamily="34" charset="-128"/>
              </a:rPr>
              <a:t>Behov for et folkeregister </a:t>
            </a:r>
            <a:r>
              <a:rPr lang="nb-NO" sz="1800">
                <a:solidFill>
                  <a:srgbClr val="FFFFFF"/>
                </a:solidFill>
                <a:ea typeface="MS PGothic" pitchFamily="34" charset="-128"/>
              </a:rPr>
              <a:t>med </a:t>
            </a:r>
            <a:r>
              <a:rPr lang="nb-NO" sz="1800" smtClean="0">
                <a:solidFill>
                  <a:srgbClr val="FFFFFF"/>
                </a:solidFill>
                <a:ea typeface="MS PGothic" pitchFamily="34" charset="-128"/>
              </a:rPr>
              <a:t>oppdatert lov, oppdaterte </a:t>
            </a:r>
            <a:r>
              <a:rPr lang="nb-NO" sz="1800" dirty="0">
                <a:solidFill>
                  <a:srgbClr val="FFFFFF"/>
                </a:solidFill>
                <a:ea typeface="MS PGothic" pitchFamily="34" charset="-128"/>
              </a:rPr>
              <a:t>prosesser, økt samhandling og elektroniske løsninger som møter samfunnets behov for identitetsforvaltning og personopplysninger</a:t>
            </a:r>
          </a:p>
        </p:txBody>
      </p:sp>
      <p:sp>
        <p:nvSpPr>
          <p:cNvPr id="13" name="Trekk ut 12"/>
          <p:cNvSpPr/>
          <p:nvPr/>
        </p:nvSpPr>
        <p:spPr bwMode="auto">
          <a:xfrm>
            <a:off x="3329534" y="2047580"/>
            <a:ext cx="2016574" cy="344164"/>
          </a:xfrm>
          <a:prstGeom prst="flowChartExtract">
            <a:avLst/>
          </a:prstGeom>
          <a:solidFill>
            <a:schemeClr val="tx2">
              <a:lumMod val="40000"/>
              <a:lumOff val="60000"/>
            </a:schemeClr>
          </a:solidFill>
          <a:ln w="9525" cap="flat" cmpd="sng" algn="ctr">
            <a:solidFill>
              <a:srgbClr val="000000"/>
            </a:solidFill>
            <a:prstDash val="solid"/>
            <a:round/>
            <a:headEnd type="none" w="med" len="med"/>
            <a:tailEnd type="none" w="med" len="med"/>
          </a:ln>
          <a:effectLst/>
          <a:scene3d>
            <a:camera prst="orthographicFront">
              <a:rot lat="0" lon="0" rev="16200000"/>
            </a:camera>
            <a:lightRig rig="threePt" dir="t"/>
          </a:scene3d>
          <a:extLst/>
        </p:spPr>
        <p:txBody>
          <a:bodyPr wrap="none" anchor="ctr"/>
          <a:lstStyle/>
          <a:p>
            <a:pPr defTabSz="457200" fontAlgn="base">
              <a:spcBef>
                <a:spcPct val="0"/>
              </a:spcBef>
              <a:spcAft>
                <a:spcPct val="0"/>
              </a:spcAft>
              <a:defRPr/>
            </a:pPr>
            <a:endParaRPr lang="nb-NO" sz="2400" dirty="0">
              <a:solidFill>
                <a:srgbClr val="000000"/>
              </a:solidFill>
              <a:ea typeface="MS PGothic" pitchFamily="34" charset="-128"/>
            </a:endParaRPr>
          </a:p>
        </p:txBody>
      </p:sp>
      <p:sp>
        <p:nvSpPr>
          <p:cNvPr id="55310" name="Tittel 1"/>
          <p:cNvSpPr txBox="1">
            <a:spLocks/>
          </p:cNvSpPr>
          <p:nvPr/>
        </p:nvSpPr>
        <p:spPr bwMode="auto">
          <a:xfrm>
            <a:off x="1060350" y="371701"/>
            <a:ext cx="7578453"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81038"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defTabSz="681038"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defTabSz="681038"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defTabSz="681038"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defTabSz="681038"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681038"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681038"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681038"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681038"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eaLnBrk="1" fontAlgn="base" hangingPunct="1">
              <a:lnSpc>
                <a:spcPct val="90000"/>
              </a:lnSpc>
              <a:spcBef>
                <a:spcPct val="0"/>
              </a:spcBef>
              <a:spcAft>
                <a:spcPct val="0"/>
              </a:spcAft>
              <a:buFontTx/>
              <a:buNone/>
            </a:pPr>
            <a:r>
              <a:rPr lang="nb-NO" altLang="nb-NO" sz="2800" b="1" dirty="0" smtClean="0">
                <a:solidFill>
                  <a:srgbClr val="000000"/>
                </a:solidFill>
                <a:latin typeface="Arial" pitchFamily="34" charset="0"/>
              </a:rPr>
              <a:t>Folkeregisteret og manntall under press</a:t>
            </a:r>
          </a:p>
        </p:txBody>
      </p:sp>
    </p:spTree>
    <p:extLst>
      <p:ext uri="{BB962C8B-B14F-4D97-AF65-F5344CB8AC3E}">
        <p14:creationId xmlns:p14="http://schemas.microsoft.com/office/powerpoint/2010/main" val="382886162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Etterkontroll mister betydning</a:t>
            </a:r>
            <a:endParaRPr lang="nb-NO" dirty="0"/>
          </a:p>
        </p:txBody>
      </p:sp>
      <p:sp>
        <p:nvSpPr>
          <p:cNvPr id="3" name="Plassholder for innhold 2"/>
          <p:cNvSpPr>
            <a:spLocks noGrp="1"/>
          </p:cNvSpPr>
          <p:nvPr>
            <p:ph idx="1"/>
          </p:nvPr>
        </p:nvSpPr>
        <p:spPr>
          <a:xfrm>
            <a:off x="5867399" y="817301"/>
            <a:ext cx="3015344" cy="4026841"/>
          </a:xfrm>
        </p:spPr>
        <p:txBody>
          <a:bodyPr/>
          <a:lstStyle/>
          <a:p>
            <a:r>
              <a:rPr lang="nb-NO" dirty="0" smtClean="0"/>
              <a:t>Aktivitet og virksomhet er oftere avsluttet før våre prosesser leder til tiltak</a:t>
            </a:r>
          </a:p>
          <a:p>
            <a:r>
              <a:rPr lang="nb-NO" dirty="0" smtClean="0"/>
              <a:t>Kontrollene må komme tettere på hendelsene ute i samfunnet</a:t>
            </a:r>
          </a:p>
          <a:p>
            <a:r>
              <a:rPr lang="nb-NO" dirty="0" smtClean="0"/>
              <a:t>Behov for løpende analyser av unndragelsesrisiko og tilhørende aktiviteter</a:t>
            </a:r>
            <a:endParaRPr lang="nb-NO" dirty="0"/>
          </a:p>
        </p:txBody>
      </p:sp>
      <p:sp>
        <p:nvSpPr>
          <p:cNvPr id="4" name="Plassholder for dato 3"/>
          <p:cNvSpPr>
            <a:spLocks noGrp="1"/>
          </p:cNvSpPr>
          <p:nvPr>
            <p:ph type="dt" sz="half" idx="10"/>
          </p:nvPr>
        </p:nvSpPr>
        <p:spPr/>
        <p:txBody>
          <a:bodyPr/>
          <a:lstStyle/>
          <a:p>
            <a:fld id="{587A696B-9A70-43E3-B282-79930C633F78}" type="datetime4">
              <a:rPr lang="nb-NO" smtClean="0"/>
              <a:t>13. oktober 2021</a:t>
            </a:fld>
            <a:endParaRPr lang="nb-NO" dirty="0"/>
          </a:p>
        </p:txBody>
      </p:sp>
      <p:pic>
        <p:nvPicPr>
          <p:cNvPr id="12292" name="Picture 4" descr="Image result for revie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17302"/>
            <a:ext cx="5715000" cy="428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282242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Analyse på strukturerte data</a:t>
            </a:r>
            <a:endParaRPr lang="nb-NO" dirty="0"/>
          </a:p>
        </p:txBody>
      </p:sp>
      <p:sp>
        <p:nvSpPr>
          <p:cNvPr id="3" name="Plassholder for innhold 2"/>
          <p:cNvSpPr>
            <a:spLocks noGrp="1"/>
          </p:cNvSpPr>
          <p:nvPr>
            <p:ph idx="1"/>
          </p:nvPr>
        </p:nvSpPr>
        <p:spPr/>
        <p:txBody>
          <a:bodyPr/>
          <a:lstStyle/>
          <a:p>
            <a:endParaRPr lang="nb-NO"/>
          </a:p>
        </p:txBody>
      </p:sp>
      <p:pic>
        <p:nvPicPr>
          <p:cNvPr id="6146" name="Picture 2" descr="Image result for analytic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72501"/>
            <a:ext cx="9981164" cy="44360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43706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288035" y="268201"/>
            <a:ext cx="8524071" cy="346249"/>
          </a:xfrm>
        </p:spPr>
        <p:txBody>
          <a:bodyPr/>
          <a:lstStyle/>
          <a:p>
            <a:r>
              <a:rPr lang="nb-NO" dirty="0" smtClean="0"/>
              <a:t>Maskinlæring avslører </a:t>
            </a:r>
            <a:r>
              <a:rPr lang="nb-NO" dirty="0" err="1" smtClean="0"/>
              <a:t>alzheimers</a:t>
            </a:r>
            <a:r>
              <a:rPr lang="nb-NO" dirty="0" smtClean="0"/>
              <a:t> 10 år før symptomer </a:t>
            </a:r>
            <a:endParaRPr lang="nb-NO" dirty="0"/>
          </a:p>
        </p:txBody>
      </p:sp>
      <p:sp>
        <p:nvSpPr>
          <p:cNvPr id="3" name="Plassholder for innhold 2"/>
          <p:cNvSpPr>
            <a:spLocks noGrp="1"/>
          </p:cNvSpPr>
          <p:nvPr>
            <p:ph idx="1"/>
          </p:nvPr>
        </p:nvSpPr>
        <p:spPr/>
        <p:txBody>
          <a:bodyPr/>
          <a:lstStyle/>
          <a:p>
            <a:endParaRPr lang="nb-NO"/>
          </a:p>
        </p:txBody>
      </p:sp>
      <p:pic>
        <p:nvPicPr>
          <p:cNvPr id="2050" name="Picture 2" descr="https://o.aolcdn.com/images/dims?crop=2126%2C1412%2C0%2C0&amp;quality=85&amp;format=jpg&amp;resize=1600%2C1063&amp;image_uri=http%3A%2F%2Fo.aolcdn.com%2Fhss%2Fstorage%2Fmidas%2F78ef02ac91cfdcc2b6a742fc68c35a6c%2F203214781%2F168715138.jpg&amp;client=a1acac3e1b3290917d92&amp;signature=c78d24f871af130edf6f4ad385b736b0b37eb49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724747"/>
            <a:ext cx="8155093" cy="4383828"/>
          </a:xfrm>
          <a:prstGeom prst="rect">
            <a:avLst/>
          </a:prstGeom>
          <a:noFill/>
          <a:extLst>
            <a:ext uri="{909E8E84-426E-40DD-AFC4-6F175D3DCCD1}">
              <a14:hiddenFill xmlns:a14="http://schemas.microsoft.com/office/drawing/2010/main">
                <a:solidFill>
                  <a:srgbClr val="FFFFFF"/>
                </a:solidFill>
              </a14:hiddenFill>
            </a:ext>
          </a:extLst>
        </p:spPr>
      </p:pic>
      <p:sp>
        <p:nvSpPr>
          <p:cNvPr id="6" name="Plassholder for innhold 2"/>
          <p:cNvSpPr txBox="1">
            <a:spLocks/>
          </p:cNvSpPr>
          <p:nvPr/>
        </p:nvSpPr>
        <p:spPr>
          <a:xfrm>
            <a:off x="936116" y="817302"/>
            <a:ext cx="7547925" cy="3647256"/>
          </a:xfrm>
          <a:prstGeom prst="rect">
            <a:avLst/>
          </a:prstGeom>
        </p:spPr>
        <p:txBody>
          <a:bodyPr vert="vert" lIns="0" tIns="0" rIns="0" bIns="0" rtlCol="0">
            <a:normAutofit/>
          </a:bodyPr>
          <a:lst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a:lstStyle>
          <a:p>
            <a:r>
              <a:rPr lang="nb-NO" dirty="0" err="1" smtClean="0"/>
              <a:t>Univ</a:t>
            </a:r>
            <a:r>
              <a:rPr lang="nb-NO" dirty="0" smtClean="0"/>
              <a:t> Bari, nevrale forbindelser </a:t>
            </a:r>
            <a:endParaRPr lang="nb-NO" dirty="0"/>
          </a:p>
        </p:txBody>
      </p:sp>
    </p:spTree>
    <p:extLst>
      <p:ext uri="{BB962C8B-B14F-4D97-AF65-F5344CB8AC3E}">
        <p14:creationId xmlns:p14="http://schemas.microsoft.com/office/powerpoint/2010/main" val="77991501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817301"/>
            <a:ext cx="9145589" cy="4289451"/>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a:xfrm>
            <a:off x="288035" y="268201"/>
            <a:ext cx="8686999" cy="346249"/>
          </a:xfrm>
        </p:spPr>
        <p:txBody>
          <a:bodyPr/>
          <a:lstStyle/>
          <a:p>
            <a:r>
              <a:rPr lang="nb-NO" dirty="0" smtClean="0"/>
              <a:t>Tilgang på informasjon og forståelse av den avgjørende!</a:t>
            </a:r>
            <a:endParaRPr lang="nb-NO" dirty="0"/>
          </a:p>
        </p:txBody>
      </p:sp>
      <p:sp>
        <p:nvSpPr>
          <p:cNvPr id="3" name="Plassholder for innhold 2"/>
          <p:cNvSpPr>
            <a:spLocks noGrp="1"/>
          </p:cNvSpPr>
          <p:nvPr>
            <p:ph idx="1"/>
          </p:nvPr>
        </p:nvSpPr>
        <p:spPr/>
        <p:txBody>
          <a:bodyPr/>
          <a:lstStyle/>
          <a:p>
            <a:endParaRPr lang="nb-NO"/>
          </a:p>
        </p:txBody>
      </p:sp>
    </p:spTree>
    <p:extLst>
      <p:ext uri="{BB962C8B-B14F-4D97-AF65-F5344CB8AC3E}">
        <p14:creationId xmlns:p14="http://schemas.microsoft.com/office/powerpoint/2010/main" val="153560468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result for global netwo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035" y="1635600"/>
            <a:ext cx="3693936" cy="1574783"/>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a:xfrm>
            <a:off x="288035" y="1028975"/>
            <a:ext cx="8371046" cy="512448"/>
          </a:xfrm>
        </p:spPr>
        <p:txBody>
          <a:bodyPr>
            <a:normAutofit/>
          </a:bodyPr>
          <a:lstStyle/>
          <a:p>
            <a:r>
              <a:rPr lang="en-GB" dirty="0" err="1" smtClean="0"/>
              <a:t>En</a:t>
            </a:r>
            <a:r>
              <a:rPr lang="en-GB" dirty="0" smtClean="0"/>
              <a:t> </a:t>
            </a:r>
            <a:r>
              <a:rPr lang="en-GB" dirty="0" err="1" smtClean="0"/>
              <a:t>stor</a:t>
            </a:r>
            <a:r>
              <a:rPr lang="en-GB" dirty="0" smtClean="0"/>
              <a:t> </a:t>
            </a:r>
            <a:r>
              <a:rPr lang="en-GB" dirty="0" err="1" smtClean="0"/>
              <a:t>omstilling</a:t>
            </a:r>
            <a:r>
              <a:rPr lang="en-GB" dirty="0" smtClean="0"/>
              <a:t> for Skatt </a:t>
            </a:r>
            <a:r>
              <a:rPr lang="en-GB" dirty="0" err="1" smtClean="0"/>
              <a:t>fremover</a:t>
            </a:r>
            <a:endParaRPr lang="en-GB" dirty="0"/>
          </a:p>
        </p:txBody>
      </p:sp>
      <p:sp>
        <p:nvSpPr>
          <p:cNvPr id="3" name="Plassholder for innhold 2"/>
          <p:cNvSpPr>
            <a:spLocks noGrp="1"/>
          </p:cNvSpPr>
          <p:nvPr>
            <p:ph idx="1"/>
          </p:nvPr>
        </p:nvSpPr>
        <p:spPr>
          <a:xfrm>
            <a:off x="237635" y="3379026"/>
            <a:ext cx="4062583" cy="1163799"/>
          </a:xfrm>
        </p:spPr>
        <p:txBody>
          <a:bodyPr>
            <a:normAutofit/>
          </a:bodyPr>
          <a:lstStyle/>
          <a:p>
            <a:r>
              <a:rPr lang="en-GB" dirty="0" err="1" smtClean="0"/>
              <a:t>Globale</a:t>
            </a:r>
            <a:r>
              <a:rPr lang="en-GB" dirty="0" smtClean="0"/>
              <a:t> </a:t>
            </a:r>
            <a:r>
              <a:rPr lang="en-GB" dirty="0" err="1" smtClean="0"/>
              <a:t>utfordringer</a:t>
            </a:r>
            <a:endParaRPr lang="en-GB" dirty="0" smtClean="0"/>
          </a:p>
          <a:p>
            <a:pPr lvl="1"/>
            <a:r>
              <a:rPr lang="en-GB" dirty="0" err="1" smtClean="0"/>
              <a:t>Lovlig</a:t>
            </a:r>
            <a:r>
              <a:rPr lang="en-GB" dirty="0" smtClean="0"/>
              <a:t> </a:t>
            </a:r>
            <a:r>
              <a:rPr lang="en-GB" dirty="0" err="1" smtClean="0"/>
              <a:t>og</a:t>
            </a:r>
            <a:r>
              <a:rPr lang="en-GB" dirty="0" smtClean="0"/>
              <a:t> </a:t>
            </a:r>
            <a:r>
              <a:rPr lang="en-GB" dirty="0" err="1" smtClean="0"/>
              <a:t>ulovlig</a:t>
            </a:r>
            <a:r>
              <a:rPr lang="en-GB" dirty="0" smtClean="0"/>
              <a:t> </a:t>
            </a:r>
            <a:r>
              <a:rPr lang="en-GB" dirty="0" err="1" smtClean="0"/>
              <a:t>skatteunnvikelse</a:t>
            </a:r>
            <a:endParaRPr lang="en-GB" dirty="0" smtClean="0"/>
          </a:p>
          <a:p>
            <a:pPr lvl="1"/>
            <a:r>
              <a:rPr lang="en-GB" dirty="0" err="1" smtClean="0"/>
              <a:t>Svindel</a:t>
            </a:r>
            <a:r>
              <a:rPr lang="en-GB" dirty="0" smtClean="0"/>
              <a:t> </a:t>
            </a:r>
            <a:r>
              <a:rPr lang="en-GB" dirty="0" err="1" smtClean="0"/>
              <a:t>og</a:t>
            </a:r>
            <a:r>
              <a:rPr lang="en-GB" dirty="0" smtClean="0"/>
              <a:t> </a:t>
            </a:r>
            <a:r>
              <a:rPr lang="en-GB" dirty="0" err="1" smtClean="0"/>
              <a:t>ulovlige</a:t>
            </a:r>
            <a:r>
              <a:rPr lang="en-GB" dirty="0" smtClean="0"/>
              <a:t> </a:t>
            </a:r>
            <a:r>
              <a:rPr lang="en-GB" dirty="0" err="1" smtClean="0"/>
              <a:t>skatteavtaler</a:t>
            </a:r>
            <a:endParaRPr lang="en-GB" dirty="0" smtClean="0"/>
          </a:p>
          <a:p>
            <a:pPr lvl="1"/>
            <a:r>
              <a:rPr lang="en-GB" dirty="0" err="1" smtClean="0"/>
              <a:t>Delingsøkonomi</a:t>
            </a:r>
            <a:r>
              <a:rPr lang="en-GB" dirty="0" smtClean="0"/>
              <a:t> </a:t>
            </a:r>
            <a:r>
              <a:rPr lang="en-GB" dirty="0" err="1" smtClean="0"/>
              <a:t>og</a:t>
            </a:r>
            <a:r>
              <a:rPr lang="en-GB" dirty="0" smtClean="0"/>
              <a:t> </a:t>
            </a:r>
            <a:r>
              <a:rPr lang="en-GB" dirty="0" err="1" smtClean="0"/>
              <a:t>informasjonstilgang</a:t>
            </a:r>
            <a:endParaRPr lang="en-GB" dirty="0"/>
          </a:p>
        </p:txBody>
      </p:sp>
      <p:pic>
        <p:nvPicPr>
          <p:cNvPr id="2052" name="Picture 4" descr="Image result for opportunities"/>
          <p:cNvPicPr>
            <a:picLocks noChangeAspect="1" noChangeArrowheads="1"/>
          </p:cNvPicPr>
          <p:nvPr/>
        </p:nvPicPr>
        <p:blipFill rotWithShape="1">
          <a:blip r:embed="rId4">
            <a:extLst>
              <a:ext uri="{28A0092B-C50C-407E-A947-70E740481C1C}">
                <a14:useLocalDpi xmlns:a14="http://schemas.microsoft.com/office/drawing/2010/main" val="0"/>
              </a:ext>
            </a:extLst>
          </a:blip>
          <a:srcRect t="-12989" b="12989"/>
          <a:stretch/>
        </p:blipFill>
        <p:spPr bwMode="auto">
          <a:xfrm>
            <a:off x="4784172" y="1398980"/>
            <a:ext cx="3600000" cy="1811403"/>
          </a:xfrm>
          <a:prstGeom prst="rect">
            <a:avLst/>
          </a:prstGeom>
          <a:noFill/>
          <a:extLst>
            <a:ext uri="{909E8E84-426E-40DD-AFC4-6F175D3DCCD1}">
              <a14:hiddenFill xmlns:a14="http://schemas.microsoft.com/office/drawing/2010/main">
                <a:solidFill>
                  <a:srgbClr val="FFFFFF"/>
                </a:solidFill>
              </a14:hiddenFill>
            </a:ext>
          </a:extLst>
        </p:spPr>
      </p:pic>
      <p:sp>
        <p:nvSpPr>
          <p:cNvPr id="8" name="Plassholder for innhold 2"/>
          <p:cNvSpPr txBox="1">
            <a:spLocks/>
          </p:cNvSpPr>
          <p:nvPr/>
        </p:nvSpPr>
        <p:spPr>
          <a:xfrm>
            <a:off x="4860036" y="3379025"/>
            <a:ext cx="3922014" cy="1163799"/>
          </a:xfrm>
          <a:prstGeom prst="rect">
            <a:avLst/>
          </a:prstGeom>
        </p:spPr>
        <p:txBody>
          <a:bodyPr vert="horz" lIns="0" tIns="0" rIns="0" bIns="0" rtlCol="0">
            <a:normAutofit fontScale="92500" lnSpcReduction="10000"/>
          </a:bodyPr>
          <a:lst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a:lstStyle>
          <a:p>
            <a:pPr marL="170272" marR="0" lvl="0" indent="-170272" algn="l" defTabSz="681091" rtl="0" eaLnBrk="1" fontAlgn="auto" latinLnBrk="0" hangingPunct="1">
              <a:lnSpc>
                <a:spcPct val="90000"/>
              </a:lnSpc>
              <a:spcBef>
                <a:spcPts val="745"/>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smtClean="0">
                <a:ln>
                  <a:noFill/>
                </a:ln>
                <a:solidFill>
                  <a:prstClr val="black"/>
                </a:solidFill>
                <a:effectLst/>
                <a:uLnTx/>
                <a:uFillTx/>
                <a:latin typeface="Arial" panose="020B0604020202020204"/>
                <a:ea typeface="+mn-ea"/>
                <a:cs typeface="+mn-cs"/>
              </a:rPr>
              <a:t>Muligheter</a:t>
            </a:r>
            <a:r>
              <a:rPr kumimoji="0" lang="en-GB" sz="1800" b="0" i="0" u="none" strike="noStrike" kern="1200" cap="none" spc="0" normalizeH="0" baseline="0" noProof="0" dirty="0" smtClean="0">
                <a:ln>
                  <a:noFill/>
                </a:ln>
                <a:solidFill>
                  <a:prstClr val="black"/>
                </a:solidFill>
                <a:effectLst/>
                <a:uLnTx/>
                <a:uFillTx/>
                <a:latin typeface="Arial" panose="020B0604020202020204"/>
                <a:ea typeface="+mn-ea"/>
                <a:cs typeface="+mn-cs"/>
              </a:rPr>
              <a:t> med </a:t>
            </a:r>
            <a:r>
              <a:rPr kumimoji="0" lang="en-GB" sz="1800" b="0" i="0" u="none" strike="noStrike" kern="1200" cap="none" spc="0" normalizeH="0" baseline="0" noProof="0" dirty="0" err="1" smtClean="0">
                <a:ln>
                  <a:noFill/>
                </a:ln>
                <a:solidFill>
                  <a:prstClr val="black"/>
                </a:solidFill>
                <a:effectLst/>
                <a:uLnTx/>
                <a:uFillTx/>
                <a:latin typeface="Arial" panose="020B0604020202020204"/>
                <a:ea typeface="+mn-ea"/>
                <a:cs typeface="+mn-cs"/>
              </a:rPr>
              <a:t>ny</a:t>
            </a:r>
            <a:r>
              <a:rPr kumimoji="0" lang="en-GB" sz="1800" b="0" i="0" u="none" strike="noStrike" kern="1200" cap="none" spc="0" normalizeH="0" baseline="0" noProof="0" dirty="0" smtClean="0">
                <a:ln>
                  <a:noFill/>
                </a:ln>
                <a:solidFill>
                  <a:prstClr val="black"/>
                </a:solidFill>
                <a:effectLst/>
                <a:uLnTx/>
                <a:uFillTx/>
                <a:latin typeface="Arial" panose="020B0604020202020204"/>
                <a:ea typeface="+mn-ea"/>
                <a:cs typeface="+mn-cs"/>
              </a:rPr>
              <a:t> </a:t>
            </a:r>
            <a:r>
              <a:rPr kumimoji="0" lang="en-GB" sz="1800" b="0" i="0" u="none" strike="noStrike" kern="1200" cap="none" spc="0" normalizeH="0" baseline="0" noProof="0" dirty="0" err="1" smtClean="0">
                <a:ln>
                  <a:noFill/>
                </a:ln>
                <a:solidFill>
                  <a:prstClr val="black"/>
                </a:solidFill>
                <a:effectLst/>
                <a:uLnTx/>
                <a:uFillTx/>
                <a:latin typeface="Arial" panose="020B0604020202020204"/>
                <a:ea typeface="+mn-ea"/>
                <a:cs typeface="+mn-cs"/>
              </a:rPr>
              <a:t>teknologi</a:t>
            </a:r>
            <a:endParaRPr kumimoji="0" lang="en-GB" sz="1800" b="0" i="0" u="none" strike="noStrike" kern="1200" cap="none" spc="0" normalizeH="0" baseline="0" noProof="0" dirty="0" smtClean="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smtClean="0">
                <a:ln>
                  <a:noFill/>
                </a:ln>
                <a:solidFill>
                  <a:prstClr val="black"/>
                </a:solidFill>
                <a:effectLst/>
                <a:uLnTx/>
                <a:uFillTx/>
                <a:latin typeface="Arial" panose="020B0604020202020204"/>
                <a:ea typeface="+mn-ea"/>
                <a:cs typeface="+mn-cs"/>
              </a:rPr>
              <a:t>Utveksling</a:t>
            </a:r>
            <a:r>
              <a:rPr kumimoji="0" lang="en-GB" sz="1600" b="0" i="0" u="none" strike="noStrike" kern="1200" cap="none" spc="0" normalizeH="0" baseline="0" noProof="0" dirty="0" smtClean="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smtClean="0">
                <a:ln>
                  <a:noFill/>
                </a:ln>
                <a:solidFill>
                  <a:prstClr val="black"/>
                </a:solidFill>
                <a:effectLst/>
                <a:uLnTx/>
                <a:uFillTx/>
                <a:latin typeface="Arial" panose="020B0604020202020204"/>
                <a:ea typeface="+mn-ea"/>
                <a:cs typeface="+mn-cs"/>
              </a:rPr>
              <a:t>av</a:t>
            </a:r>
            <a:r>
              <a:rPr kumimoji="0" lang="en-GB" sz="1600" b="0" i="0" u="none" strike="noStrike" kern="1200" cap="none" spc="0" normalizeH="0" baseline="0" noProof="0" dirty="0" smtClean="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smtClean="0">
                <a:ln>
                  <a:noFill/>
                </a:ln>
                <a:solidFill>
                  <a:prstClr val="black"/>
                </a:solidFill>
                <a:effectLst/>
                <a:uLnTx/>
                <a:uFillTx/>
                <a:latin typeface="Arial" panose="020B0604020202020204"/>
                <a:ea typeface="+mn-ea"/>
                <a:cs typeface="+mn-cs"/>
              </a:rPr>
              <a:t>informasjon</a:t>
            </a:r>
            <a:endParaRPr kumimoji="0" lang="en-GB" sz="1600" b="0" i="0" u="none" strike="noStrike" kern="1200" cap="none" spc="0" normalizeH="0" baseline="0" noProof="0" dirty="0" smtClean="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smtClean="0">
                <a:ln>
                  <a:noFill/>
                </a:ln>
                <a:solidFill>
                  <a:prstClr val="black"/>
                </a:solidFill>
                <a:effectLst/>
                <a:uLnTx/>
                <a:uFillTx/>
                <a:latin typeface="Arial" panose="020B0604020202020204"/>
                <a:ea typeface="+mn-ea"/>
                <a:cs typeface="+mn-cs"/>
              </a:rPr>
              <a:t>Kommunikasjon</a:t>
            </a:r>
            <a:r>
              <a:rPr kumimoji="0" lang="en-GB" sz="1600" b="0" i="0" u="none" strike="noStrike" kern="1200" cap="none" spc="0" normalizeH="0" baseline="0" noProof="0" dirty="0" smtClean="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smtClean="0">
                <a:ln>
                  <a:noFill/>
                </a:ln>
                <a:solidFill>
                  <a:prstClr val="black"/>
                </a:solidFill>
                <a:effectLst/>
                <a:uLnTx/>
                <a:uFillTx/>
                <a:latin typeface="Arial" panose="020B0604020202020204"/>
                <a:ea typeface="+mn-ea"/>
                <a:cs typeface="+mn-cs"/>
              </a:rPr>
              <a:t>i</a:t>
            </a:r>
            <a:r>
              <a:rPr kumimoji="0" lang="en-GB" sz="1600" b="0" i="0" u="none" strike="noStrike" kern="1200" cap="none" spc="0" normalizeH="0" baseline="0" noProof="0" dirty="0" smtClean="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smtClean="0">
                <a:ln>
                  <a:noFill/>
                </a:ln>
                <a:solidFill>
                  <a:prstClr val="black"/>
                </a:solidFill>
                <a:effectLst/>
                <a:uLnTx/>
                <a:uFillTx/>
                <a:latin typeface="Arial" panose="020B0604020202020204"/>
                <a:ea typeface="+mn-ea"/>
                <a:cs typeface="+mn-cs"/>
              </a:rPr>
              <a:t>sanntid</a:t>
            </a:r>
            <a:endParaRPr kumimoji="0" lang="en-GB" sz="1600" b="0" i="0" u="none" strike="noStrike" kern="1200" cap="none" spc="0" normalizeH="0" baseline="0" noProof="0" dirty="0" smtClean="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lang="en-GB" noProof="0" dirty="0" err="1" smtClean="0">
                <a:solidFill>
                  <a:prstClr val="black"/>
                </a:solidFill>
                <a:latin typeface="Arial" panose="020B0604020202020204"/>
              </a:rPr>
              <a:t>Maskin</a:t>
            </a:r>
            <a:r>
              <a:rPr lang="en-GB" dirty="0" err="1" smtClean="0">
                <a:solidFill>
                  <a:prstClr val="black"/>
                </a:solidFill>
                <a:latin typeface="Arial" panose="020B0604020202020204"/>
              </a:rPr>
              <a:t>læring</a:t>
            </a:r>
            <a:r>
              <a:rPr lang="en-GB" dirty="0" smtClean="0">
                <a:solidFill>
                  <a:prstClr val="black"/>
                </a:solidFill>
                <a:latin typeface="Arial" panose="020B0604020202020204"/>
              </a:rPr>
              <a:t> </a:t>
            </a:r>
            <a:endParaRPr kumimoji="0" lang="en-GB" sz="1600" b="0" i="0" u="none" strike="noStrike" kern="1200" cap="none" spc="0" normalizeH="0" baseline="0" noProof="0" dirty="0" smtClean="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smtClean="0">
                <a:ln>
                  <a:noFill/>
                </a:ln>
                <a:solidFill>
                  <a:prstClr val="black"/>
                </a:solidFill>
                <a:effectLst/>
                <a:uLnTx/>
                <a:uFillTx/>
                <a:latin typeface="Arial" panose="020B0604020202020204"/>
                <a:ea typeface="+mn-ea"/>
                <a:cs typeface="+mn-cs"/>
              </a:rPr>
              <a:t>Big Data </a:t>
            </a:r>
            <a:r>
              <a:rPr kumimoji="0" lang="en-GB" sz="1600" b="0" i="0" u="none" strike="noStrike" kern="1200" cap="none" spc="0" normalizeH="0" baseline="0" noProof="0" dirty="0" err="1" smtClean="0">
                <a:ln>
                  <a:noFill/>
                </a:ln>
                <a:solidFill>
                  <a:prstClr val="black"/>
                </a:solidFill>
                <a:effectLst/>
                <a:uLnTx/>
                <a:uFillTx/>
                <a:latin typeface="Arial" panose="020B0604020202020204"/>
                <a:ea typeface="+mn-ea"/>
                <a:cs typeface="+mn-cs"/>
              </a:rPr>
              <a:t>og</a:t>
            </a:r>
            <a:r>
              <a:rPr kumimoji="0" lang="en-GB" sz="1600" b="0" i="0" u="none" strike="noStrike" kern="1200" cap="none" spc="0" normalizeH="0" baseline="0" noProof="0" dirty="0" smtClean="0">
                <a:ln>
                  <a:noFill/>
                </a:ln>
                <a:solidFill>
                  <a:prstClr val="black"/>
                </a:solidFill>
                <a:effectLst/>
                <a:uLnTx/>
                <a:uFillTx/>
                <a:latin typeface="Arial" panose="020B0604020202020204"/>
                <a:ea typeface="+mn-ea"/>
                <a:cs typeface="+mn-cs"/>
              </a:rPr>
              <a:t> analyse</a:t>
            </a:r>
          </a:p>
        </p:txBody>
      </p:sp>
    </p:spTree>
    <p:extLst>
      <p:ext uri="{BB962C8B-B14F-4D97-AF65-F5344CB8AC3E}">
        <p14:creationId xmlns:p14="http://schemas.microsoft.com/office/powerpoint/2010/main" val="4230602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74327"/>
            <a:ext cx="9145588" cy="6097058"/>
          </a:xfrm>
          <a:prstGeom prst="rect">
            <a:avLst/>
          </a:prstGeom>
        </p:spPr>
      </p:pic>
      <p:sp>
        <p:nvSpPr>
          <p:cNvPr id="4" name="Tittel 3"/>
          <p:cNvSpPr>
            <a:spLocks noGrp="1"/>
          </p:cNvSpPr>
          <p:nvPr>
            <p:ph type="title"/>
          </p:nvPr>
        </p:nvSpPr>
        <p:spPr>
          <a:xfrm>
            <a:off x="288035" y="185582"/>
            <a:ext cx="8596657" cy="512448"/>
          </a:xfrm>
          <a:solidFill>
            <a:schemeClr val="bg1">
              <a:alpha val="50000"/>
            </a:schemeClr>
          </a:solidFill>
        </p:spPr>
        <p:txBody>
          <a:bodyPr>
            <a:normAutofit fontScale="90000"/>
          </a:bodyPr>
          <a:lstStyle/>
          <a:p>
            <a:r>
              <a:rPr lang="nb-NO" dirty="0" smtClean="0"/>
              <a:t>Mål: Sikre finansieringen av velferdsstaten</a:t>
            </a:r>
            <a:endParaRPr lang="nb-NO" dirty="0"/>
          </a:p>
        </p:txBody>
      </p:sp>
    </p:spTree>
    <p:extLst>
      <p:ext uri="{BB962C8B-B14F-4D97-AF65-F5344CB8AC3E}">
        <p14:creationId xmlns:p14="http://schemas.microsoft.com/office/powerpoint/2010/main" val="251733113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2"/>
          <a:stretch>
            <a:fillRect/>
          </a:stretch>
        </p:blipFill>
        <p:spPr>
          <a:xfrm>
            <a:off x="210242" y="1544520"/>
            <a:ext cx="3460515" cy="2575014"/>
          </a:xfrm>
          <a:prstGeom prst="rect">
            <a:avLst/>
          </a:prstGeom>
        </p:spPr>
      </p:pic>
      <p:sp>
        <p:nvSpPr>
          <p:cNvPr id="5" name="TekstSylinder 4"/>
          <p:cNvSpPr txBox="1"/>
          <p:nvPr/>
        </p:nvSpPr>
        <p:spPr>
          <a:xfrm>
            <a:off x="2191410" y="76848"/>
            <a:ext cx="4354912" cy="646331"/>
          </a:xfrm>
          <a:prstGeom prst="rect">
            <a:avLst/>
          </a:prstGeom>
          <a:noFill/>
        </p:spPr>
        <p:txBody>
          <a:bodyPr wrap="square" rtlCol="0">
            <a:spAutoFit/>
          </a:bodyPr>
          <a:lstStyle/>
          <a:p>
            <a:r>
              <a:rPr lang="nb-NO" sz="3600" b="1" dirty="0" smtClean="0"/>
              <a:t>Noen føringer </a:t>
            </a:r>
            <a:endParaRPr lang="nb-NO" sz="3600" b="1" dirty="0"/>
          </a:p>
        </p:txBody>
      </p:sp>
      <p:sp>
        <p:nvSpPr>
          <p:cNvPr id="6" name="TekstSylinder 5"/>
          <p:cNvSpPr txBox="1"/>
          <p:nvPr/>
        </p:nvSpPr>
        <p:spPr>
          <a:xfrm>
            <a:off x="210242" y="1236743"/>
            <a:ext cx="2632131" cy="307777"/>
          </a:xfrm>
          <a:prstGeom prst="rect">
            <a:avLst/>
          </a:prstGeom>
          <a:noFill/>
        </p:spPr>
        <p:txBody>
          <a:bodyPr wrap="none" rtlCol="0">
            <a:spAutoFit/>
          </a:bodyPr>
          <a:lstStyle/>
          <a:p>
            <a:r>
              <a:rPr lang="nb-NO" dirty="0" smtClean="0"/>
              <a:t>Statsbudsjetter - Tildelingsbrev</a:t>
            </a:r>
            <a:endParaRPr lang="nb-NO" dirty="0"/>
          </a:p>
        </p:txBody>
      </p:sp>
      <p:pic>
        <p:nvPicPr>
          <p:cNvPr id="7" name="Bilde 6"/>
          <p:cNvPicPr>
            <a:picLocks noChangeAspect="1"/>
          </p:cNvPicPr>
          <p:nvPr/>
        </p:nvPicPr>
        <p:blipFill>
          <a:blip r:embed="rId3"/>
          <a:stretch>
            <a:fillRect/>
          </a:stretch>
        </p:blipFill>
        <p:spPr>
          <a:xfrm>
            <a:off x="3670757" y="3098434"/>
            <a:ext cx="1798897" cy="1813838"/>
          </a:xfrm>
          <a:prstGeom prst="rect">
            <a:avLst/>
          </a:prstGeom>
        </p:spPr>
      </p:pic>
      <p:grpSp>
        <p:nvGrpSpPr>
          <p:cNvPr id="10" name="Gruppe 9"/>
          <p:cNvGrpSpPr/>
          <p:nvPr/>
        </p:nvGrpSpPr>
        <p:grpSpPr>
          <a:xfrm>
            <a:off x="3749698" y="983337"/>
            <a:ext cx="2591896" cy="1896459"/>
            <a:chOff x="3887845" y="955515"/>
            <a:chExt cx="2591896" cy="1896459"/>
          </a:xfrm>
        </p:grpSpPr>
        <p:pic>
          <p:nvPicPr>
            <p:cNvPr id="8" name="Bilde 7"/>
            <p:cNvPicPr>
              <a:picLocks noChangeAspect="1"/>
            </p:cNvPicPr>
            <p:nvPr/>
          </p:nvPicPr>
          <p:blipFill>
            <a:blip r:embed="rId4"/>
            <a:stretch>
              <a:fillRect/>
            </a:stretch>
          </p:blipFill>
          <p:spPr>
            <a:xfrm>
              <a:off x="3887845" y="955515"/>
              <a:ext cx="2591896" cy="813735"/>
            </a:xfrm>
            <a:prstGeom prst="rect">
              <a:avLst/>
            </a:prstGeom>
          </p:spPr>
        </p:pic>
        <p:pic>
          <p:nvPicPr>
            <p:cNvPr id="9" name="Bilde 8"/>
            <p:cNvPicPr>
              <a:picLocks noChangeAspect="1"/>
            </p:cNvPicPr>
            <p:nvPr/>
          </p:nvPicPr>
          <p:blipFill>
            <a:blip r:embed="rId5"/>
            <a:stretch>
              <a:fillRect/>
            </a:stretch>
          </p:blipFill>
          <p:spPr>
            <a:xfrm>
              <a:off x="3887845" y="1772017"/>
              <a:ext cx="2591896" cy="1079957"/>
            </a:xfrm>
            <a:prstGeom prst="rect">
              <a:avLst/>
            </a:prstGeom>
          </p:spPr>
        </p:pic>
      </p:grpSp>
      <p:pic>
        <p:nvPicPr>
          <p:cNvPr id="11" name="Bilde 10"/>
          <p:cNvPicPr>
            <a:picLocks noChangeAspect="1"/>
          </p:cNvPicPr>
          <p:nvPr/>
        </p:nvPicPr>
        <p:blipFill>
          <a:blip r:embed="rId6"/>
          <a:stretch>
            <a:fillRect/>
          </a:stretch>
        </p:blipFill>
        <p:spPr>
          <a:xfrm>
            <a:off x="5661007" y="2907618"/>
            <a:ext cx="3147494" cy="2004654"/>
          </a:xfrm>
          <a:prstGeom prst="rect">
            <a:avLst/>
          </a:prstGeom>
        </p:spPr>
      </p:pic>
      <p:pic>
        <p:nvPicPr>
          <p:cNvPr id="12" name="Bilde 11"/>
          <p:cNvPicPr>
            <a:picLocks noChangeAspect="1"/>
          </p:cNvPicPr>
          <p:nvPr/>
        </p:nvPicPr>
        <p:blipFill>
          <a:blip r:embed="rId7"/>
          <a:stretch>
            <a:fillRect/>
          </a:stretch>
        </p:blipFill>
        <p:spPr>
          <a:xfrm>
            <a:off x="5979781" y="150671"/>
            <a:ext cx="3041921" cy="2637075"/>
          </a:xfrm>
          <a:prstGeom prst="rect">
            <a:avLst/>
          </a:prstGeom>
        </p:spPr>
      </p:pic>
    </p:spTree>
    <p:extLst>
      <p:ext uri="{BB962C8B-B14F-4D97-AF65-F5344CB8AC3E}">
        <p14:creationId xmlns:p14="http://schemas.microsoft.com/office/powerpoint/2010/main" val="1777017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631626" y="870707"/>
            <a:ext cx="2115747" cy="11529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kstSylinder 4"/>
          <p:cNvSpPr txBox="1"/>
          <p:nvPr/>
        </p:nvSpPr>
        <p:spPr>
          <a:xfrm>
            <a:off x="327442" y="2199513"/>
            <a:ext cx="5600700" cy="58477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nb-NO" sz="3200" b="1" dirty="0" smtClean="0"/>
              <a:t>Once only – kun en gang</a:t>
            </a:r>
            <a:endParaRPr lang="nb-NO" sz="3600" b="1" dirty="0"/>
          </a:p>
        </p:txBody>
      </p:sp>
      <p:grpSp>
        <p:nvGrpSpPr>
          <p:cNvPr id="8" name="Gruppe 7"/>
          <p:cNvGrpSpPr/>
          <p:nvPr/>
        </p:nvGrpSpPr>
        <p:grpSpPr>
          <a:xfrm>
            <a:off x="929640" y="103388"/>
            <a:ext cx="5280660" cy="2008018"/>
            <a:chOff x="1203960" y="453908"/>
            <a:chExt cx="5280660" cy="2008018"/>
          </a:xfrm>
        </p:grpSpPr>
        <p:sp>
          <p:nvSpPr>
            <p:cNvPr id="4" name="Rektangel 3"/>
            <p:cNvSpPr/>
            <p:nvPr/>
          </p:nvSpPr>
          <p:spPr>
            <a:xfrm>
              <a:off x="1203960" y="646044"/>
              <a:ext cx="5280660" cy="1815882"/>
            </a:xfrm>
            <a:prstGeom prst="rect">
              <a:avLst/>
            </a:prstGeom>
          </p:spPr>
          <p:txBody>
            <a:bodyPr wrap="square">
              <a:spAutoFit/>
            </a:bodyPr>
            <a:lstStyle/>
            <a:p>
              <a:r>
                <a:rPr lang="nb-NO" dirty="0"/>
                <a:t>Den enkelte virksomhet skal ha oversikt over hvilke data den håndterer, hva dataene betyr, hva de kan brukes til, hvilke prosesser de inngår i, og hvem som kan bruke dem (informasjonsforvaltning). </a:t>
              </a:r>
              <a:r>
                <a:rPr lang="nb-NO" dirty="0" err="1"/>
                <a:t>Difi</a:t>
              </a:r>
              <a:r>
                <a:rPr lang="nb-NO" dirty="0"/>
                <a:t> etablerer et </a:t>
              </a:r>
              <a:r>
                <a:rPr lang="nb-NO" dirty="0">
                  <a:hlinkClick r:id="rId3"/>
                </a:rPr>
                <a:t>rammeverk for informasjonsforvaltning</a:t>
              </a:r>
              <a:r>
                <a:rPr lang="nb-NO" dirty="0"/>
                <a:t> som kan brukes av virksomheten.</a:t>
              </a:r>
              <a:r>
                <a:rPr lang="nb-NO" dirty="0">
                  <a:hlinkClick r:id="rId4"/>
                </a:rPr>
                <a:t/>
              </a:r>
              <a:br>
                <a:rPr lang="nb-NO" dirty="0">
                  <a:hlinkClick r:id="rId4"/>
                </a:rPr>
              </a:br>
              <a:endParaRPr lang="nb-NO" dirty="0"/>
            </a:p>
            <a:p>
              <a:r>
                <a:rPr lang="nb-NO" dirty="0"/>
                <a:t>Virksomheten skal gjenbruke informasjon, i stedet for å spørre brukerne på nytt om forhold de allerede har opplyst.</a:t>
              </a:r>
            </a:p>
          </p:txBody>
        </p:sp>
        <p:sp>
          <p:nvSpPr>
            <p:cNvPr id="6" name="TekstSylinder 5"/>
            <p:cNvSpPr txBox="1"/>
            <p:nvPr/>
          </p:nvSpPr>
          <p:spPr>
            <a:xfrm>
              <a:off x="1206124" y="453908"/>
              <a:ext cx="2501006" cy="307777"/>
            </a:xfrm>
            <a:prstGeom prst="rect">
              <a:avLst/>
            </a:prstGeom>
            <a:noFill/>
          </p:spPr>
          <p:txBody>
            <a:bodyPr wrap="none" rtlCol="0">
              <a:spAutoFit/>
            </a:bodyPr>
            <a:lstStyle/>
            <a:p>
              <a:r>
                <a:rPr lang="nb-NO" b="1" dirty="0" smtClean="0"/>
                <a:t>Digitaliseringsrundskrivet:</a:t>
              </a:r>
              <a:r>
                <a:rPr lang="nb-NO" dirty="0" smtClean="0"/>
                <a:t> </a:t>
              </a:r>
              <a:endParaRPr lang="nb-NO" dirty="0"/>
            </a:p>
          </p:txBody>
        </p:sp>
      </p:grpSp>
      <p:sp>
        <p:nvSpPr>
          <p:cNvPr id="7" name="TekstSylinder 6"/>
          <p:cNvSpPr txBox="1"/>
          <p:nvPr/>
        </p:nvSpPr>
        <p:spPr>
          <a:xfrm>
            <a:off x="6812497" y="2743487"/>
            <a:ext cx="1754006" cy="523220"/>
          </a:xfrm>
          <a:prstGeom prst="rect">
            <a:avLst/>
          </a:prstGeom>
          <a:noFill/>
        </p:spPr>
        <p:txBody>
          <a:bodyPr wrap="none" rtlCol="0">
            <a:spAutoFit/>
          </a:bodyPr>
          <a:lstStyle/>
          <a:p>
            <a:r>
              <a:rPr lang="nb-NO" b="1" dirty="0" smtClean="0"/>
              <a:t>Skatteetatens nye </a:t>
            </a:r>
          </a:p>
          <a:p>
            <a:r>
              <a:rPr lang="nb-NO" b="1" dirty="0" smtClean="0"/>
              <a:t>Digitale Plattform</a:t>
            </a:r>
            <a:endParaRPr lang="nb-NO" b="1" dirty="0"/>
          </a:p>
        </p:txBody>
      </p:sp>
      <p:grpSp>
        <p:nvGrpSpPr>
          <p:cNvPr id="9" name="Gruppe 8"/>
          <p:cNvGrpSpPr/>
          <p:nvPr/>
        </p:nvGrpSpPr>
        <p:grpSpPr>
          <a:xfrm>
            <a:off x="327442" y="3005097"/>
            <a:ext cx="6485055" cy="1319311"/>
            <a:chOff x="327442" y="3005097"/>
            <a:chExt cx="6485055" cy="1319311"/>
          </a:xfrm>
        </p:grpSpPr>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7442" y="3280429"/>
              <a:ext cx="6485055" cy="1043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kstSylinder 9"/>
            <p:cNvSpPr txBox="1"/>
            <p:nvPr/>
          </p:nvSpPr>
          <p:spPr>
            <a:xfrm>
              <a:off x="328628" y="3005097"/>
              <a:ext cx="2799164" cy="307777"/>
            </a:xfrm>
            <a:prstGeom prst="rect">
              <a:avLst/>
            </a:prstGeom>
            <a:noFill/>
          </p:spPr>
          <p:txBody>
            <a:bodyPr wrap="none" rtlCol="0">
              <a:spAutoFit/>
            </a:bodyPr>
            <a:lstStyle/>
            <a:p>
              <a:r>
                <a:rPr lang="nb-NO" b="1" dirty="0" smtClean="0"/>
                <a:t>Skatteetatens nye mål for 2018</a:t>
              </a:r>
              <a:endParaRPr lang="nb-NO" dirty="0"/>
            </a:p>
          </p:txBody>
        </p:sp>
      </p:grpSp>
      <p:sp>
        <p:nvSpPr>
          <p:cNvPr id="14" name="TekstSylinder 13"/>
          <p:cNvSpPr txBox="1"/>
          <p:nvPr/>
        </p:nvSpPr>
        <p:spPr>
          <a:xfrm>
            <a:off x="4526279" y="4291760"/>
            <a:ext cx="3872583" cy="64633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nb-NO" sz="3600" dirty="0" smtClean="0"/>
              <a:t>Orden i eget hus!</a:t>
            </a:r>
            <a:endParaRPr lang="nb-NO" sz="3600" dirty="0"/>
          </a:p>
        </p:txBody>
      </p:sp>
    </p:spTree>
    <p:extLst>
      <p:ext uri="{BB962C8B-B14F-4D97-AF65-F5344CB8AC3E}">
        <p14:creationId xmlns:p14="http://schemas.microsoft.com/office/powerpoint/2010/main" val="111666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pPr marL="0" marR="0" lvl="0" indent="0" algn="l" defTabSz="683951" rtl="0" eaLnBrk="1" fontAlgn="auto" latinLnBrk="0" hangingPunct="1">
              <a:lnSpc>
                <a:spcPct val="100000"/>
              </a:lnSpc>
              <a:spcBef>
                <a:spcPts val="0"/>
              </a:spcBef>
              <a:spcAft>
                <a:spcPts val="0"/>
              </a:spcAft>
              <a:buClrTx/>
              <a:buSzTx/>
              <a:buFontTx/>
              <a:buNone/>
              <a:tabLst/>
              <a:defRPr/>
            </a:pPr>
            <a:fld id="{9ACEDFA6-BCD5-4232-A6E1-61270AF02151}" type="datetime4">
              <a:rPr kumimoji="0" lang="nb-NO" sz="700" b="1"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l" defTabSz="683951" rtl="0" eaLnBrk="1" fontAlgn="auto" latinLnBrk="0" hangingPunct="1">
                <a:lnSpc>
                  <a:spcPct val="100000"/>
                </a:lnSpc>
                <a:spcBef>
                  <a:spcPts val="0"/>
                </a:spcBef>
                <a:spcAft>
                  <a:spcPts val="0"/>
                </a:spcAft>
                <a:buClrTx/>
                <a:buSzTx/>
                <a:buFontTx/>
                <a:buNone/>
                <a:tabLst/>
                <a:defRPr/>
              </a:pPr>
              <a:t>13. oktober 2021</a:t>
            </a:fld>
            <a:endParaRPr kumimoji="0" lang="nb-NO"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 name="Tittel 4"/>
          <p:cNvSpPr>
            <a:spLocks noGrp="1"/>
          </p:cNvSpPr>
          <p:nvPr>
            <p:ph type="title"/>
          </p:nvPr>
        </p:nvSpPr>
        <p:spPr>
          <a:xfrm>
            <a:off x="329941" y="1296192"/>
            <a:ext cx="3796676" cy="987421"/>
          </a:xfrm>
        </p:spPr>
        <p:txBody>
          <a:bodyPr>
            <a:normAutofit fontScale="90000"/>
          </a:bodyPr>
          <a:lstStyle/>
          <a:p>
            <a:r>
              <a:rPr lang="nb-NO"/>
              <a:t>IT utvikling – </a:t>
            </a:r>
            <a:br>
              <a:rPr lang="nb-NO"/>
            </a:br>
            <a:r>
              <a:rPr lang="nb-NO"/>
              <a:t>en risikosport</a:t>
            </a:r>
          </a:p>
        </p:txBody>
      </p:sp>
      <p:pic>
        <p:nvPicPr>
          <p:cNvPr id="6" name="Plassholder for innhold 5"/>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13907" y="2743200"/>
            <a:ext cx="3212424" cy="2093913"/>
          </a:xfrm>
        </p:spPr>
      </p:pic>
      <p:pic>
        <p:nvPicPr>
          <p:cNvPr id="3" name="Plassholder for bilde 2"/>
          <p:cNvPicPr>
            <a:picLocks noGrp="1" noChangeAspect="1"/>
          </p:cNvPicPr>
          <p:nvPr>
            <p:ph type="pic" sz="quarter" idx="13"/>
          </p:nvPr>
        </p:nvPicPr>
        <p:blipFill>
          <a:blip r:embed="rId4"/>
          <a:srcRect l="26465" r="26465"/>
          <a:stretch>
            <a:fillRect/>
          </a:stretch>
        </p:blipFill>
        <p:spPr>
          <a:prstGeom prst="rect">
            <a:avLst/>
          </a:prstGeom>
        </p:spPr>
      </p:pic>
    </p:spTree>
    <p:extLst>
      <p:ext uri="{BB962C8B-B14F-4D97-AF65-F5344CB8AC3E}">
        <p14:creationId xmlns:p14="http://schemas.microsoft.com/office/powerpoint/2010/main" val="153085853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fontScale="90000"/>
          </a:bodyPr>
          <a:lstStyle/>
          <a:p>
            <a:r>
              <a:rPr lang="nb-NO" dirty="0" smtClean="0"/>
              <a:t>Felles system-</a:t>
            </a:r>
            <a:br>
              <a:rPr lang="nb-NO" dirty="0" smtClean="0"/>
            </a:br>
            <a:r>
              <a:rPr lang="nb-NO" dirty="0" smtClean="0"/>
              <a:t>utviklingsmetode?</a:t>
            </a:r>
            <a:endParaRPr lang="nb-NO" dirty="0"/>
          </a:p>
        </p:txBody>
      </p:sp>
      <p:sp>
        <p:nvSpPr>
          <p:cNvPr id="3" name="Plassholder for innhold 2"/>
          <p:cNvSpPr>
            <a:spLocks noGrp="1"/>
          </p:cNvSpPr>
          <p:nvPr>
            <p:ph idx="1"/>
          </p:nvPr>
        </p:nvSpPr>
        <p:spPr>
          <a:xfrm>
            <a:off x="288036" y="817301"/>
            <a:ext cx="7668959" cy="3947531"/>
          </a:xfrm>
        </p:spPr>
        <p:txBody>
          <a:bodyPr vert="horz" lIns="72000" tIns="72000" rIns="72000" bIns="0" rtlCol="0" anchor="t">
            <a:normAutofit/>
          </a:bodyPr>
          <a:lstStyle/>
          <a:p>
            <a:pPr marL="0" indent="0">
              <a:lnSpc>
                <a:spcPct val="120000"/>
              </a:lnSpc>
              <a:buNone/>
            </a:pPr>
            <a:r>
              <a:rPr lang="nb-NO" sz="1900" dirty="0"/>
              <a:t>Vi tror på smidig tilnærming, men...</a:t>
            </a:r>
            <a:endParaRPr lang="nb-NO" sz="1700" dirty="0"/>
          </a:p>
        </p:txBody>
      </p:sp>
      <p:pic>
        <p:nvPicPr>
          <p:cNvPr id="7" name="Bilde 6"/>
          <p:cNvPicPr>
            <a:picLocks noChangeAspect="1"/>
          </p:cNvPicPr>
          <p:nvPr/>
        </p:nvPicPr>
        <p:blipFill>
          <a:blip r:embed="rId3"/>
          <a:stretch>
            <a:fillRect/>
          </a:stretch>
        </p:blipFill>
        <p:spPr>
          <a:xfrm>
            <a:off x="449870" y="1250357"/>
            <a:ext cx="3702549" cy="2421695"/>
          </a:xfrm>
          <a:prstGeom prst="rect">
            <a:avLst/>
          </a:prstGeom>
        </p:spPr>
      </p:pic>
      <p:sp>
        <p:nvSpPr>
          <p:cNvPr id="8" name="Ellipse 7"/>
          <p:cNvSpPr/>
          <p:nvPr/>
        </p:nvSpPr>
        <p:spPr>
          <a:xfrm>
            <a:off x="4785267" y="2781130"/>
            <a:ext cx="1377718"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Teknisk arkitektur</a:t>
            </a:r>
          </a:p>
        </p:txBody>
      </p:sp>
      <p:sp>
        <p:nvSpPr>
          <p:cNvPr id="10" name="Ellipse 9"/>
          <p:cNvSpPr/>
          <p:nvPr/>
        </p:nvSpPr>
        <p:spPr>
          <a:xfrm>
            <a:off x="6129076" y="335926"/>
            <a:ext cx="2243191" cy="557047"/>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Forretningsregler</a:t>
            </a:r>
          </a:p>
        </p:txBody>
      </p:sp>
      <p:sp>
        <p:nvSpPr>
          <p:cNvPr id="11" name="Ellipse 10"/>
          <p:cNvSpPr/>
          <p:nvPr/>
        </p:nvSpPr>
        <p:spPr>
          <a:xfrm>
            <a:off x="3630515" y="115918"/>
            <a:ext cx="1753891"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Brukerinnsikt</a:t>
            </a:r>
          </a:p>
        </p:txBody>
      </p:sp>
      <p:sp>
        <p:nvSpPr>
          <p:cNvPr id="12" name="Ellipse 11"/>
          <p:cNvSpPr/>
          <p:nvPr/>
        </p:nvSpPr>
        <p:spPr>
          <a:xfrm>
            <a:off x="4242212" y="1771465"/>
            <a:ext cx="2463827"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Løsningsdesign</a:t>
            </a:r>
          </a:p>
        </p:txBody>
      </p:sp>
      <p:sp>
        <p:nvSpPr>
          <p:cNvPr id="13" name="Ellipse 12"/>
          <p:cNvSpPr/>
          <p:nvPr/>
        </p:nvSpPr>
        <p:spPr>
          <a:xfrm>
            <a:off x="6346555" y="2747640"/>
            <a:ext cx="2668369"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Informasjonsmodeller</a:t>
            </a:r>
          </a:p>
        </p:txBody>
      </p:sp>
      <p:sp>
        <p:nvSpPr>
          <p:cNvPr id="15" name="Ellipse 14"/>
          <p:cNvSpPr/>
          <p:nvPr/>
        </p:nvSpPr>
        <p:spPr>
          <a:xfrm>
            <a:off x="5607874" y="3640542"/>
            <a:ext cx="2187773"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Prosessmodeller</a:t>
            </a:r>
          </a:p>
        </p:txBody>
      </p:sp>
      <p:sp>
        <p:nvSpPr>
          <p:cNvPr id="16" name="Ellipse 15"/>
          <p:cNvSpPr/>
          <p:nvPr/>
        </p:nvSpPr>
        <p:spPr>
          <a:xfrm>
            <a:off x="4313767" y="4494698"/>
            <a:ext cx="2841778" cy="52691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Kommunikasjonsplan</a:t>
            </a:r>
          </a:p>
        </p:txBody>
      </p:sp>
      <p:sp>
        <p:nvSpPr>
          <p:cNvPr id="17" name="Ellipse 16"/>
          <p:cNvSpPr/>
          <p:nvPr/>
        </p:nvSpPr>
        <p:spPr>
          <a:xfrm>
            <a:off x="2001886" y="4256445"/>
            <a:ext cx="2073662"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Regelverkskrav</a:t>
            </a:r>
          </a:p>
        </p:txBody>
      </p:sp>
      <p:sp>
        <p:nvSpPr>
          <p:cNvPr id="18" name="Ellipse 17"/>
          <p:cNvSpPr/>
          <p:nvPr/>
        </p:nvSpPr>
        <p:spPr>
          <a:xfrm>
            <a:off x="7012865" y="4077130"/>
            <a:ext cx="2303532" cy="104868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Og mye</a:t>
            </a:r>
            <a:r>
              <a:rPr kumimoji="0" lang="nb-NO" sz="1400" b="0" i="0" u="none" strike="noStrike" kern="1200" cap="none" spc="0" normalizeH="0" noProof="0" dirty="0">
                <a:ln>
                  <a:noFill/>
                </a:ln>
                <a:solidFill>
                  <a:prstClr val="white"/>
                </a:solidFill>
                <a:effectLst/>
                <a:uLnTx/>
                <a:uFillTx/>
                <a:latin typeface="Arial" panose="020B0604020202020204"/>
                <a:ea typeface="+mn-ea"/>
                <a:cs typeface="+mn-cs"/>
              </a:rPr>
              <a:t> mer…</a:t>
            </a:r>
            <a:endPar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Ellipse 18"/>
          <p:cNvSpPr/>
          <p:nvPr/>
        </p:nvSpPr>
        <p:spPr>
          <a:xfrm>
            <a:off x="4697420" y="959741"/>
            <a:ext cx="1504348"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Prototyper</a:t>
            </a:r>
          </a:p>
        </p:txBody>
      </p:sp>
      <p:sp>
        <p:nvSpPr>
          <p:cNvPr id="20" name="Ellipse 19"/>
          <p:cNvSpPr/>
          <p:nvPr/>
        </p:nvSpPr>
        <p:spPr>
          <a:xfrm>
            <a:off x="247995" y="3804453"/>
            <a:ext cx="1753891"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Brukertesting</a:t>
            </a:r>
          </a:p>
        </p:txBody>
      </p:sp>
      <p:sp>
        <p:nvSpPr>
          <p:cNvPr id="21" name="Ellipse 20"/>
          <p:cNvSpPr/>
          <p:nvPr/>
        </p:nvSpPr>
        <p:spPr>
          <a:xfrm>
            <a:off x="6864742" y="1114069"/>
            <a:ext cx="1631994"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Ikke-funksjonelle krav </a:t>
            </a:r>
          </a:p>
        </p:txBody>
      </p:sp>
      <p:sp>
        <p:nvSpPr>
          <p:cNvPr id="22" name="Ellipse 21"/>
          <p:cNvSpPr/>
          <p:nvPr/>
        </p:nvSpPr>
        <p:spPr>
          <a:xfrm>
            <a:off x="3969778" y="3640541"/>
            <a:ext cx="1504348"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Estimat</a:t>
            </a:r>
          </a:p>
        </p:txBody>
      </p:sp>
      <p:sp>
        <p:nvSpPr>
          <p:cNvPr id="23" name="Ellipse 22"/>
          <p:cNvSpPr/>
          <p:nvPr/>
        </p:nvSpPr>
        <p:spPr>
          <a:xfrm>
            <a:off x="6881286" y="1956163"/>
            <a:ext cx="1859758"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Interessenter</a:t>
            </a:r>
          </a:p>
        </p:txBody>
      </p:sp>
    </p:spTree>
    <p:extLst>
      <p:ext uri="{BB962C8B-B14F-4D97-AF65-F5344CB8AC3E}">
        <p14:creationId xmlns:p14="http://schemas.microsoft.com/office/powerpoint/2010/main" val="2063460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P spid="13" grpId="0" animBg="1"/>
      <p:bldP spid="15" grpId="0" animBg="1"/>
      <p:bldP spid="16" grpId="0" animBg="1"/>
      <p:bldP spid="17" grpId="0" animBg="1"/>
      <p:bldP spid="18" grpId="0" animBg="1"/>
      <p:bldP spid="19" grpId="0" animBg="1"/>
      <p:bldP spid="20" grpId="0" animBg="1"/>
      <p:bldP spid="21" grpId="0" animBg="1"/>
      <p:bldP spid="22" grpId="0" animBg="1"/>
      <p:bldP spid="2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53500" y="280832"/>
            <a:ext cx="7487385" cy="561869"/>
          </a:xfrm>
        </p:spPr>
        <p:txBody>
          <a:bodyPr>
            <a:normAutofit/>
          </a:bodyPr>
          <a:lstStyle/>
          <a:p>
            <a:r>
              <a:rPr lang="nb-NO" sz="2460"/>
              <a:t>Forvaltning av informasjon i etaten – forenklet</a:t>
            </a:r>
          </a:p>
        </p:txBody>
      </p:sp>
      <p:graphicFrame>
        <p:nvGraphicFramePr>
          <p:cNvPr id="5" name="Plassholder for innhold 4"/>
          <p:cNvGraphicFramePr>
            <a:graphicFrameLocks noGrp="1"/>
          </p:cNvGraphicFramePr>
          <p:nvPr>
            <p:ph idx="1"/>
          </p:nvPr>
        </p:nvGraphicFramePr>
        <p:xfrm>
          <a:off x="1053500" y="2071301"/>
          <a:ext cx="6547452" cy="16100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ktangel 2"/>
          <p:cNvSpPr/>
          <p:nvPr/>
        </p:nvSpPr>
        <p:spPr>
          <a:xfrm>
            <a:off x="746150" y="2054623"/>
            <a:ext cx="7183527" cy="168344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Rektangel 3"/>
          <p:cNvSpPr/>
          <p:nvPr/>
        </p:nvSpPr>
        <p:spPr>
          <a:xfrm>
            <a:off x="2099462" y="1023577"/>
            <a:ext cx="2011680" cy="48280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latin typeface="+mj-lt"/>
              </a:rPr>
              <a:t>Fagsystem</a:t>
            </a:r>
          </a:p>
        </p:txBody>
      </p:sp>
      <p:sp>
        <p:nvSpPr>
          <p:cNvPr id="6" name="Rektangel 5"/>
          <p:cNvSpPr/>
          <p:nvPr/>
        </p:nvSpPr>
        <p:spPr>
          <a:xfrm>
            <a:off x="4111142" y="1023577"/>
            <a:ext cx="2011680" cy="48280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latin typeface="+mj-lt"/>
              </a:rPr>
              <a:t>Saksbehandling</a:t>
            </a:r>
          </a:p>
        </p:txBody>
      </p:sp>
      <p:grpSp>
        <p:nvGrpSpPr>
          <p:cNvPr id="11" name="Gruppe 10"/>
          <p:cNvGrpSpPr/>
          <p:nvPr/>
        </p:nvGrpSpPr>
        <p:grpSpPr>
          <a:xfrm>
            <a:off x="2721255" y="1644760"/>
            <a:ext cx="790040" cy="271545"/>
            <a:chOff x="2721255" y="1556980"/>
            <a:chExt cx="790040" cy="271545"/>
          </a:xfrm>
        </p:grpSpPr>
        <p:sp>
          <p:nvSpPr>
            <p:cNvPr id="7" name="Pil opp 6"/>
            <p:cNvSpPr/>
            <p:nvPr/>
          </p:nvSpPr>
          <p:spPr>
            <a:xfrm>
              <a:off x="2721255" y="1565178"/>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Pil opp 7"/>
            <p:cNvSpPr/>
            <p:nvPr/>
          </p:nvSpPr>
          <p:spPr>
            <a:xfrm flipV="1">
              <a:off x="3152850" y="1556980"/>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12" name="Gruppe 11"/>
          <p:cNvGrpSpPr/>
          <p:nvPr/>
        </p:nvGrpSpPr>
        <p:grpSpPr>
          <a:xfrm>
            <a:off x="4721962" y="1648858"/>
            <a:ext cx="790040" cy="271545"/>
            <a:chOff x="2721255" y="1556980"/>
            <a:chExt cx="790040" cy="271545"/>
          </a:xfrm>
        </p:grpSpPr>
        <p:sp>
          <p:nvSpPr>
            <p:cNvPr id="13" name="Pil opp 12"/>
            <p:cNvSpPr/>
            <p:nvPr/>
          </p:nvSpPr>
          <p:spPr>
            <a:xfrm>
              <a:off x="2721255" y="1565178"/>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Pil opp 13"/>
            <p:cNvSpPr/>
            <p:nvPr/>
          </p:nvSpPr>
          <p:spPr>
            <a:xfrm flipV="1">
              <a:off x="3152850" y="1556980"/>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15" name="TekstSylinder 14"/>
          <p:cNvSpPr txBox="1"/>
          <p:nvPr/>
        </p:nvSpPr>
        <p:spPr>
          <a:xfrm>
            <a:off x="6722669" y="1111090"/>
            <a:ext cx="1120820" cy="307777"/>
          </a:xfrm>
          <a:prstGeom prst="rect">
            <a:avLst/>
          </a:prstGeom>
          <a:noFill/>
        </p:spPr>
        <p:txBody>
          <a:bodyPr wrap="none" rtlCol="0">
            <a:spAutoFit/>
          </a:bodyPr>
          <a:lstStyle/>
          <a:p>
            <a:r>
              <a:rPr lang="nb-NO">
                <a:latin typeface="+mj-lt"/>
              </a:rPr>
              <a:t>Primærbruk</a:t>
            </a:r>
          </a:p>
        </p:txBody>
      </p:sp>
      <p:sp>
        <p:nvSpPr>
          <p:cNvPr id="16" name="TekstSylinder 15"/>
          <p:cNvSpPr txBox="1"/>
          <p:nvPr/>
        </p:nvSpPr>
        <p:spPr>
          <a:xfrm>
            <a:off x="6377554" y="4404581"/>
            <a:ext cx="1359668" cy="307777"/>
          </a:xfrm>
          <a:prstGeom prst="rect">
            <a:avLst/>
          </a:prstGeom>
          <a:noFill/>
        </p:spPr>
        <p:txBody>
          <a:bodyPr wrap="none" rtlCol="0">
            <a:spAutoFit/>
          </a:bodyPr>
          <a:lstStyle/>
          <a:p>
            <a:r>
              <a:rPr lang="nb-NO">
                <a:latin typeface="+mj-lt"/>
              </a:rPr>
              <a:t>Sekundærbruk</a:t>
            </a:r>
          </a:p>
        </p:txBody>
      </p:sp>
      <p:sp>
        <p:nvSpPr>
          <p:cNvPr id="17" name="Rektangel 16"/>
          <p:cNvSpPr/>
          <p:nvPr/>
        </p:nvSpPr>
        <p:spPr>
          <a:xfrm>
            <a:off x="1894637" y="4317067"/>
            <a:ext cx="2011680" cy="48280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latin typeface="+mj-lt"/>
              </a:rPr>
              <a:t>Analyse</a:t>
            </a:r>
          </a:p>
        </p:txBody>
      </p:sp>
      <p:grpSp>
        <p:nvGrpSpPr>
          <p:cNvPr id="18" name="Gruppe 17"/>
          <p:cNvGrpSpPr/>
          <p:nvPr/>
        </p:nvGrpSpPr>
        <p:grpSpPr>
          <a:xfrm>
            <a:off x="2542032" y="3896064"/>
            <a:ext cx="790040" cy="271545"/>
            <a:chOff x="2721255" y="1556980"/>
            <a:chExt cx="790040" cy="271545"/>
          </a:xfrm>
        </p:grpSpPr>
        <p:sp>
          <p:nvSpPr>
            <p:cNvPr id="19" name="Pil opp 18"/>
            <p:cNvSpPr/>
            <p:nvPr/>
          </p:nvSpPr>
          <p:spPr>
            <a:xfrm>
              <a:off x="2721255" y="1565178"/>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Pil opp 19"/>
            <p:cNvSpPr/>
            <p:nvPr/>
          </p:nvSpPr>
          <p:spPr>
            <a:xfrm flipV="1">
              <a:off x="3152850" y="1556980"/>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21" name="Rektangel 20"/>
          <p:cNvSpPr/>
          <p:nvPr/>
        </p:nvSpPr>
        <p:spPr>
          <a:xfrm>
            <a:off x="4147717" y="4317067"/>
            <a:ext cx="2011680" cy="48280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latin typeface="+mj-lt"/>
              </a:rPr>
              <a:t>Ekstern</a:t>
            </a:r>
            <a:r>
              <a:rPr lang="nb-NO" b="1">
                <a:solidFill>
                  <a:schemeClr val="tx1"/>
                </a:solidFill>
                <a:latin typeface="Arial Black" panose="020B0A04020102020204" pitchFamily="34" charset="0"/>
              </a:rPr>
              <a:t> </a:t>
            </a:r>
            <a:r>
              <a:rPr lang="nb-NO">
                <a:solidFill>
                  <a:schemeClr val="tx1"/>
                </a:solidFill>
                <a:latin typeface="+mj-lt"/>
              </a:rPr>
              <a:t>deling</a:t>
            </a:r>
          </a:p>
        </p:txBody>
      </p:sp>
      <p:sp>
        <p:nvSpPr>
          <p:cNvPr id="24" name="Pil opp 23"/>
          <p:cNvSpPr/>
          <p:nvPr/>
        </p:nvSpPr>
        <p:spPr>
          <a:xfrm flipV="1">
            <a:off x="4963362" y="3905373"/>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350706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5" grpId="0"/>
      <p:bldP spid="16" grpId="0"/>
      <p:bldP spid="17" grpId="0" animBg="1"/>
      <p:bldP spid="21" grpId="0" animBg="1"/>
      <p:bldP spid="2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half" idx="2"/>
          </p:nvPr>
        </p:nvSpPr>
        <p:spPr>
          <a:xfrm>
            <a:off x="321979" y="1341002"/>
            <a:ext cx="4134115" cy="3495989"/>
          </a:xfrm>
        </p:spPr>
        <p:txBody>
          <a:bodyPr>
            <a:normAutofit/>
          </a:bodyPr>
          <a:lstStyle/>
          <a:p>
            <a:r>
              <a:rPr lang="nb-NO" dirty="0"/>
              <a:t>Ingen har egentlig ansvar for helheten</a:t>
            </a:r>
          </a:p>
          <a:p>
            <a:pPr lvl="1"/>
            <a:r>
              <a:rPr lang="nb-NO" dirty="0"/>
              <a:t>Sektorprinsippet er sterkest i styringen</a:t>
            </a:r>
          </a:p>
          <a:p>
            <a:pPr lvl="1"/>
            <a:endParaRPr lang="nb-NO" dirty="0"/>
          </a:p>
          <a:p>
            <a:r>
              <a:rPr lang="nb-NO" dirty="0"/>
              <a:t>Hver offentlig myndighet har egne:</a:t>
            </a:r>
          </a:p>
          <a:p>
            <a:pPr lvl="1"/>
            <a:r>
              <a:rPr lang="nb-NO" dirty="0"/>
              <a:t>Ansvarsområder</a:t>
            </a:r>
          </a:p>
          <a:p>
            <a:pPr lvl="1"/>
            <a:r>
              <a:rPr lang="nb-NO" dirty="0"/>
              <a:t>Regelverk</a:t>
            </a:r>
          </a:p>
          <a:p>
            <a:pPr lvl="1"/>
            <a:r>
              <a:rPr lang="nb-NO" dirty="0"/>
              <a:t>Systemer</a:t>
            </a:r>
          </a:p>
          <a:p>
            <a:pPr lvl="1"/>
            <a:r>
              <a:rPr lang="nb-NO" dirty="0" smtClean="0"/>
              <a:t>Begreper og datastrukturer</a:t>
            </a:r>
            <a:endParaRPr lang="nb-NO" dirty="0"/>
          </a:p>
          <a:p>
            <a:pPr lvl="1"/>
            <a:r>
              <a:rPr lang="nb-NO" dirty="0"/>
              <a:t>Skjemaer</a:t>
            </a:r>
          </a:p>
          <a:p>
            <a:pPr lvl="1"/>
            <a:endParaRPr lang="nb-NO" dirty="0"/>
          </a:p>
          <a:p>
            <a:r>
              <a:rPr lang="nb-NO" dirty="0"/>
              <a:t>Rapporteringskrav er utviklet for å optimalisere hver etat sine prosesser </a:t>
            </a:r>
          </a:p>
          <a:p>
            <a:endParaRPr lang="nb-NO" dirty="0"/>
          </a:p>
          <a:p>
            <a:endParaRPr lang="nb-NO" dirty="0"/>
          </a:p>
        </p:txBody>
      </p:sp>
      <p:pic>
        <p:nvPicPr>
          <p:cNvPr id="4" name="Plassholder for bilde 3"/>
          <p:cNvPicPr>
            <a:picLocks noGrp="1" noChangeAspect="1"/>
          </p:cNvPicPr>
          <p:nvPr>
            <p:ph type="pic" sz="quarter" idx="13"/>
          </p:nvPr>
        </p:nvPicPr>
        <p:blipFill>
          <a:blip r:embed="rId2"/>
          <a:srcRect l="10820" r="10820"/>
          <a:stretch>
            <a:fillRect/>
          </a:stretch>
        </p:blipFill>
        <p:spPr>
          <a:prstGeom prst="rect">
            <a:avLst/>
          </a:prstGeom>
        </p:spPr>
      </p:pic>
      <p:sp>
        <p:nvSpPr>
          <p:cNvPr id="5" name="TekstSylinder 4"/>
          <p:cNvSpPr txBox="1"/>
          <p:nvPr/>
        </p:nvSpPr>
        <p:spPr>
          <a:xfrm>
            <a:off x="4718342" y="3297600"/>
            <a:ext cx="588058" cy="246221"/>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FFFF00"/>
                </a:solidFill>
                <a:effectLst/>
                <a:uLnTx/>
                <a:uFillTx/>
                <a:latin typeface="Arial" panose="020B0604020202020204"/>
                <a:ea typeface="+mn-ea"/>
                <a:cs typeface="+mn-cs"/>
              </a:rPr>
              <a:t>NAV</a:t>
            </a:r>
            <a:endParaRPr kumimoji="0" lang="nb-NO" sz="14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7" name="TekstSylinder 6"/>
          <p:cNvSpPr txBox="1"/>
          <p:nvPr/>
        </p:nvSpPr>
        <p:spPr>
          <a:xfrm>
            <a:off x="6321021" y="3382238"/>
            <a:ext cx="982858" cy="261610"/>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a:ln>
                  <a:noFill/>
                </a:ln>
                <a:solidFill>
                  <a:srgbClr val="FFFF00"/>
                </a:solidFill>
                <a:effectLst/>
                <a:uLnTx/>
                <a:uFillTx/>
                <a:latin typeface="Arial" panose="020B0604020202020204"/>
                <a:ea typeface="+mn-ea"/>
                <a:cs typeface="+mn-cs"/>
              </a:rPr>
              <a:t>Skatteetaten</a:t>
            </a:r>
            <a:endParaRPr kumimoji="0" lang="nb-NO" sz="18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8" name="TekstSylinder 7"/>
          <p:cNvSpPr txBox="1"/>
          <p:nvPr/>
        </p:nvSpPr>
        <p:spPr>
          <a:xfrm>
            <a:off x="7513991" y="3020600"/>
            <a:ext cx="722931" cy="400110"/>
          </a:xfrm>
          <a:prstGeom prst="rect">
            <a:avLst/>
          </a:prstGeom>
          <a:noFill/>
        </p:spPr>
        <p:txBody>
          <a:bodyPr wrap="square" rtlCol="0">
            <a:spAutoFit/>
          </a:bodyP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FFFF00"/>
                </a:solidFill>
                <a:effectLst/>
                <a:uLnTx/>
                <a:uFillTx/>
                <a:latin typeface="Arial" panose="020B0604020202020204"/>
                <a:ea typeface="+mn-ea"/>
                <a:cs typeface="+mn-cs"/>
              </a:rPr>
              <a:t>Brønnøy-sund</a:t>
            </a:r>
            <a:endParaRPr kumimoji="0" lang="nb-NO" sz="14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9" name="TekstSylinder 8"/>
          <p:cNvSpPr txBox="1"/>
          <p:nvPr/>
        </p:nvSpPr>
        <p:spPr>
          <a:xfrm>
            <a:off x="5656538" y="2928268"/>
            <a:ext cx="919258" cy="369332"/>
          </a:xfrm>
          <a:prstGeom prst="rect">
            <a:avLst/>
          </a:prstGeom>
          <a:noFill/>
        </p:spPr>
        <p:txBody>
          <a:bodyPr wrap="square" rtlCol="0">
            <a:spAutoFit/>
          </a:bodyP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FFFF00"/>
                </a:solidFill>
                <a:effectLst/>
                <a:uLnTx/>
                <a:uFillTx/>
                <a:latin typeface="Arial" panose="020B0604020202020204"/>
                <a:ea typeface="+mn-ea"/>
                <a:cs typeface="+mn-cs"/>
              </a:rPr>
              <a:t>Mat-</a:t>
            </a:r>
          </a:p>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FFFF00"/>
                </a:solidFill>
                <a:effectLst/>
                <a:uLnTx/>
                <a:uFillTx/>
                <a:latin typeface="Arial" panose="020B0604020202020204"/>
                <a:ea typeface="+mn-ea"/>
                <a:cs typeface="+mn-cs"/>
              </a:rPr>
              <a:t>tilsynet</a:t>
            </a:r>
            <a:endParaRPr kumimoji="0" lang="nb-NO" sz="12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10" name="TekstSylinder 9"/>
          <p:cNvSpPr txBox="1"/>
          <p:nvPr/>
        </p:nvSpPr>
        <p:spPr>
          <a:xfrm>
            <a:off x="8273463" y="3278255"/>
            <a:ext cx="563535" cy="400110"/>
          </a:xfrm>
          <a:prstGeom prst="rect">
            <a:avLst/>
          </a:prstGeom>
          <a:noFill/>
        </p:spPr>
        <p:txBody>
          <a:bodyPr wrap="square" rtlCol="0">
            <a:spAutoFit/>
          </a:bodyP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FFFF00"/>
                </a:solidFill>
                <a:effectLst/>
                <a:uLnTx/>
                <a:uFillTx/>
                <a:latin typeface="Arial" panose="020B0604020202020204"/>
                <a:ea typeface="+mn-ea"/>
                <a:cs typeface="+mn-cs"/>
              </a:rPr>
              <a:t>Toll-etaten</a:t>
            </a:r>
            <a:endParaRPr kumimoji="0" lang="nb-NO" sz="14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11" name="TekstSylinder 10"/>
          <p:cNvSpPr txBox="1"/>
          <p:nvPr/>
        </p:nvSpPr>
        <p:spPr>
          <a:xfrm>
            <a:off x="5425679" y="3005211"/>
            <a:ext cx="519891" cy="276999"/>
          </a:xfrm>
          <a:prstGeom prst="rect">
            <a:avLst/>
          </a:prstGeom>
          <a:noFill/>
        </p:spPr>
        <p:txBody>
          <a:bodyPr wrap="square" rtlCol="0">
            <a:spAutoFit/>
          </a:bodyP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600" b="0" i="0" u="none" strike="noStrike" kern="1200" cap="none" spc="0" normalizeH="0" baseline="0" noProof="0" dirty="0">
                <a:ln>
                  <a:noFill/>
                </a:ln>
                <a:solidFill>
                  <a:srgbClr val="FFFF00"/>
                </a:solidFill>
                <a:effectLst/>
                <a:uLnTx/>
                <a:uFillTx/>
                <a:latin typeface="Arial" panose="020B0604020202020204"/>
                <a:ea typeface="+mn-ea"/>
                <a:cs typeface="+mn-cs"/>
              </a:rPr>
              <a:t>Lotteri-</a:t>
            </a:r>
          </a:p>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600" b="0" i="0" u="none" strike="noStrike" kern="1200" cap="none" spc="0" normalizeH="0" baseline="0" noProof="0" dirty="0">
                <a:ln>
                  <a:noFill/>
                </a:ln>
                <a:solidFill>
                  <a:srgbClr val="FFFF00"/>
                </a:solidFill>
                <a:effectLst/>
                <a:uLnTx/>
                <a:uFillTx/>
                <a:latin typeface="Arial" panose="020B0604020202020204"/>
                <a:ea typeface="+mn-ea"/>
                <a:cs typeface="+mn-cs"/>
              </a:rPr>
              <a:t>tilsynet</a:t>
            </a:r>
            <a:endParaRPr kumimoji="0" lang="nb-NO" sz="10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3" name="TekstSylinder 2"/>
          <p:cNvSpPr txBox="1"/>
          <p:nvPr/>
        </p:nvSpPr>
        <p:spPr>
          <a:xfrm>
            <a:off x="806824" y="457200"/>
            <a:ext cx="8184776" cy="461665"/>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Arial" panose="020B0604020202020204"/>
                <a:ea typeface="+mn-ea"/>
                <a:cs typeface="+mn-cs"/>
              </a:rPr>
              <a:t>Alle er salet til å ri sine egne hester og ha skylapper på</a:t>
            </a:r>
          </a:p>
        </p:txBody>
      </p:sp>
      <p:pic>
        <p:nvPicPr>
          <p:cNvPr id="19" name="Bilde 18"/>
          <p:cNvPicPr>
            <a:picLocks noChangeAspect="1"/>
          </p:cNvPicPr>
          <p:nvPr/>
        </p:nvPicPr>
        <p:blipFill>
          <a:blip r:embed="rId3"/>
          <a:stretch>
            <a:fillRect/>
          </a:stretch>
        </p:blipFill>
        <p:spPr>
          <a:xfrm>
            <a:off x="5151925" y="108065"/>
            <a:ext cx="3475679" cy="4929447"/>
          </a:xfrm>
          <a:prstGeom prst="rect">
            <a:avLst/>
          </a:prstGeom>
          <a:ln>
            <a:solidFill>
              <a:schemeClr val="accent2"/>
            </a:solidFill>
          </a:ln>
        </p:spPr>
      </p:pic>
    </p:spTree>
    <p:extLst>
      <p:ext uri="{BB962C8B-B14F-4D97-AF65-F5344CB8AC3E}">
        <p14:creationId xmlns:p14="http://schemas.microsoft.com/office/powerpoint/2010/main" val="1715193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half" idx="2"/>
          </p:nvPr>
        </p:nvSpPr>
        <p:spPr>
          <a:xfrm>
            <a:off x="321979" y="1341002"/>
            <a:ext cx="4447040" cy="3495989"/>
          </a:xfrm>
        </p:spPr>
        <p:txBody>
          <a:bodyPr>
            <a:normAutofit/>
          </a:bodyPr>
          <a:lstStyle/>
          <a:p>
            <a:r>
              <a:rPr lang="nb-NO" dirty="0"/>
              <a:t>Sterke knytninger mellom: </a:t>
            </a:r>
          </a:p>
          <a:p>
            <a:pPr lvl="1"/>
            <a:r>
              <a:rPr lang="nb-NO" dirty="0"/>
              <a:t>Regelverk </a:t>
            </a:r>
          </a:p>
          <a:p>
            <a:pPr lvl="1"/>
            <a:r>
              <a:rPr lang="nb-NO" dirty="0"/>
              <a:t>Prosess</a:t>
            </a:r>
          </a:p>
          <a:p>
            <a:pPr lvl="1"/>
            <a:r>
              <a:rPr lang="nb-NO" dirty="0"/>
              <a:t>Informasjon</a:t>
            </a:r>
          </a:p>
          <a:p>
            <a:pPr lvl="1"/>
            <a:endParaRPr lang="nb-NO" dirty="0"/>
          </a:p>
          <a:p>
            <a:endParaRPr lang="nb-NO" dirty="0"/>
          </a:p>
          <a:p>
            <a:r>
              <a:rPr lang="nb-NO" dirty="0"/>
              <a:t>Rapporteringskrav er utviklet for å optimalisere hvert system sine prosesser </a:t>
            </a:r>
          </a:p>
          <a:p>
            <a:endParaRPr lang="nb-NO" dirty="0"/>
          </a:p>
          <a:p>
            <a:r>
              <a:rPr lang="nb-NO" dirty="0"/>
              <a:t>Silosystemene blir nå erstattet av </a:t>
            </a:r>
            <a:r>
              <a:rPr lang="nb-NO" dirty="0" smtClean="0"/>
              <a:t>fagsystemer og noen få felleskomponenter</a:t>
            </a:r>
            <a:endParaRPr lang="nb-NO" dirty="0"/>
          </a:p>
          <a:p>
            <a:endParaRPr lang="nb-NO" dirty="0"/>
          </a:p>
        </p:txBody>
      </p:sp>
      <p:pic>
        <p:nvPicPr>
          <p:cNvPr id="6" name="Bilde 5"/>
          <p:cNvPicPr>
            <a:picLocks noChangeAspect="1"/>
          </p:cNvPicPr>
          <p:nvPr/>
        </p:nvPicPr>
        <p:blipFill>
          <a:blip r:embed="rId2"/>
          <a:stretch>
            <a:fillRect/>
          </a:stretch>
        </p:blipFill>
        <p:spPr>
          <a:xfrm>
            <a:off x="5035297" y="1341002"/>
            <a:ext cx="3612102" cy="3459478"/>
          </a:xfrm>
          <a:prstGeom prst="rect">
            <a:avLst/>
          </a:prstGeom>
        </p:spPr>
      </p:pic>
      <p:sp>
        <p:nvSpPr>
          <p:cNvPr id="7" name="TekstSylinder 6"/>
          <p:cNvSpPr txBox="1"/>
          <p:nvPr/>
        </p:nvSpPr>
        <p:spPr>
          <a:xfrm>
            <a:off x="7829756" y="3086394"/>
            <a:ext cx="627888" cy="261610"/>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dirty="0">
                <a:ln>
                  <a:noFill/>
                </a:ln>
                <a:solidFill>
                  <a:prstClr val="black"/>
                </a:solidFill>
                <a:effectLst/>
                <a:uLnTx/>
                <a:uFillTx/>
                <a:latin typeface="Arial" panose="020B0604020202020204"/>
                <a:ea typeface="+mn-ea"/>
                <a:cs typeface="+mn-cs"/>
              </a:rPr>
              <a:t>MVA</a:t>
            </a:r>
            <a:endParaRPr kumimoji="0" lang="nb-NO"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TekstSylinder 7"/>
          <p:cNvSpPr txBox="1"/>
          <p:nvPr/>
        </p:nvSpPr>
        <p:spPr>
          <a:xfrm>
            <a:off x="6182980" y="3063311"/>
            <a:ext cx="627888" cy="307777"/>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black"/>
                </a:solidFill>
                <a:effectLst/>
                <a:uLnTx/>
                <a:uFillTx/>
                <a:latin typeface="Arial" panose="020B0604020202020204"/>
                <a:ea typeface="+mn-ea"/>
                <a:cs typeface="+mn-cs"/>
              </a:rPr>
              <a:t>Skatt</a:t>
            </a:r>
          </a:p>
        </p:txBody>
      </p:sp>
      <p:sp>
        <p:nvSpPr>
          <p:cNvPr id="9" name="TekstSylinder 8"/>
          <p:cNvSpPr txBox="1"/>
          <p:nvPr/>
        </p:nvSpPr>
        <p:spPr>
          <a:xfrm>
            <a:off x="5331550" y="2990006"/>
            <a:ext cx="627888" cy="369332"/>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prstClr val="black"/>
                </a:solidFill>
                <a:effectLst/>
                <a:uLnTx/>
                <a:uFillTx/>
                <a:latin typeface="Arial" panose="020B0604020202020204"/>
                <a:ea typeface="+mn-ea"/>
                <a:cs typeface="+mn-cs"/>
              </a:rPr>
              <a:t>Sær-</a:t>
            </a:r>
          </a:p>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prstClr val="black"/>
                </a:solidFill>
                <a:effectLst/>
                <a:uLnTx/>
                <a:uFillTx/>
                <a:latin typeface="Arial" panose="020B0604020202020204"/>
                <a:ea typeface="+mn-ea"/>
                <a:cs typeface="+mn-cs"/>
              </a:rPr>
              <a:t>avgift</a:t>
            </a:r>
            <a:endParaRPr kumimoji="0" lang="nb-NO"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0" name="Bilde 9"/>
          <p:cNvPicPr>
            <a:picLocks noChangeAspect="1"/>
          </p:cNvPicPr>
          <p:nvPr/>
        </p:nvPicPr>
        <p:blipFill>
          <a:blip r:embed="rId3"/>
          <a:stretch>
            <a:fillRect/>
          </a:stretch>
        </p:blipFill>
        <p:spPr>
          <a:xfrm>
            <a:off x="6363784" y="2935012"/>
            <a:ext cx="133140" cy="128299"/>
          </a:xfrm>
          <a:prstGeom prst="rect">
            <a:avLst/>
          </a:prstGeom>
        </p:spPr>
      </p:pic>
      <p:pic>
        <p:nvPicPr>
          <p:cNvPr id="11" name="Bilde 10"/>
          <p:cNvPicPr>
            <a:picLocks noChangeAspect="1"/>
          </p:cNvPicPr>
          <p:nvPr/>
        </p:nvPicPr>
        <p:blipFill>
          <a:blip r:embed="rId3"/>
          <a:stretch>
            <a:fillRect/>
          </a:stretch>
        </p:blipFill>
        <p:spPr>
          <a:xfrm>
            <a:off x="8021301" y="2990006"/>
            <a:ext cx="133140" cy="128299"/>
          </a:xfrm>
          <a:prstGeom prst="rect">
            <a:avLst/>
          </a:prstGeom>
        </p:spPr>
      </p:pic>
      <p:pic>
        <p:nvPicPr>
          <p:cNvPr id="12" name="Bilde 11"/>
          <p:cNvPicPr>
            <a:picLocks noChangeAspect="1"/>
          </p:cNvPicPr>
          <p:nvPr/>
        </p:nvPicPr>
        <p:blipFill>
          <a:blip r:embed="rId3"/>
          <a:stretch>
            <a:fillRect/>
          </a:stretch>
        </p:blipFill>
        <p:spPr>
          <a:xfrm>
            <a:off x="5499831" y="2886823"/>
            <a:ext cx="133140" cy="128299"/>
          </a:xfrm>
          <a:prstGeom prst="rect">
            <a:avLst/>
          </a:prstGeom>
        </p:spPr>
      </p:pic>
      <p:graphicFrame>
        <p:nvGraphicFramePr>
          <p:cNvPr id="3" name="Diagram 2"/>
          <p:cNvGraphicFramePr/>
          <p:nvPr/>
        </p:nvGraphicFramePr>
        <p:xfrm>
          <a:off x="2627377" y="1527415"/>
          <a:ext cx="2407920" cy="135940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3" name="TekstSylinder 12"/>
          <p:cNvSpPr txBox="1"/>
          <p:nvPr/>
        </p:nvSpPr>
        <p:spPr>
          <a:xfrm>
            <a:off x="1048512" y="457200"/>
            <a:ext cx="6876288" cy="461665"/>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Arial" panose="020B0604020202020204"/>
                <a:ea typeface="+mn-ea"/>
                <a:cs typeface="+mn-cs"/>
              </a:rPr>
              <a:t>Også skylapper på i eget hus</a:t>
            </a:r>
          </a:p>
        </p:txBody>
      </p:sp>
      <p:sp>
        <p:nvSpPr>
          <p:cNvPr id="4" name="Bildeforklaring formet som en sky 3"/>
          <p:cNvSpPr/>
          <p:nvPr/>
        </p:nvSpPr>
        <p:spPr>
          <a:xfrm>
            <a:off x="5401731" y="1657543"/>
            <a:ext cx="566095" cy="298234"/>
          </a:xfrm>
          <a:prstGeom prst="cloud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TekstSylinder 13"/>
          <p:cNvSpPr txBox="1"/>
          <p:nvPr/>
        </p:nvSpPr>
        <p:spPr>
          <a:xfrm>
            <a:off x="5430341" y="1698938"/>
            <a:ext cx="627888" cy="215444"/>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panose="020B0604020202020204"/>
                <a:ea typeface="+mn-ea"/>
                <a:cs typeface="+mn-cs"/>
              </a:rPr>
              <a:t>SAFIR</a:t>
            </a:r>
          </a:p>
        </p:txBody>
      </p:sp>
      <p:sp>
        <p:nvSpPr>
          <p:cNvPr id="18" name="Bildeforklaring formet som en sky 17"/>
          <p:cNvSpPr/>
          <p:nvPr/>
        </p:nvSpPr>
        <p:spPr>
          <a:xfrm>
            <a:off x="6430354" y="1084163"/>
            <a:ext cx="566095" cy="298234"/>
          </a:xfrm>
          <a:prstGeom prst="cloudCallout">
            <a:avLst>
              <a:gd name="adj1" fmla="val -246"/>
              <a:gd name="adj2" fmla="val 65506"/>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TekstSylinder 18"/>
          <p:cNvSpPr txBox="1"/>
          <p:nvPr/>
        </p:nvSpPr>
        <p:spPr>
          <a:xfrm>
            <a:off x="6430354" y="1125558"/>
            <a:ext cx="627888" cy="215444"/>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panose="020B0604020202020204"/>
                <a:ea typeface="+mn-ea"/>
                <a:cs typeface="+mn-cs"/>
              </a:rPr>
              <a:t>SIRIUS</a:t>
            </a:r>
          </a:p>
        </p:txBody>
      </p:sp>
      <p:sp>
        <p:nvSpPr>
          <p:cNvPr id="20" name="Bildeforklaring formet som en sky 19"/>
          <p:cNvSpPr/>
          <p:nvPr/>
        </p:nvSpPr>
        <p:spPr>
          <a:xfrm>
            <a:off x="7990901" y="1774100"/>
            <a:ext cx="566095" cy="298234"/>
          </a:xfrm>
          <a:prstGeom prst="cloud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TekstSylinder 20"/>
          <p:cNvSpPr txBox="1"/>
          <p:nvPr/>
        </p:nvSpPr>
        <p:spPr>
          <a:xfrm>
            <a:off x="8019511" y="1815495"/>
            <a:ext cx="627888" cy="215444"/>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panose="020B0604020202020204"/>
                <a:ea typeface="+mn-ea"/>
                <a:cs typeface="+mn-cs"/>
              </a:rPr>
              <a:t>MEMO</a:t>
            </a:r>
          </a:p>
        </p:txBody>
      </p:sp>
      <p:grpSp>
        <p:nvGrpSpPr>
          <p:cNvPr id="16" name="Gruppe 15"/>
          <p:cNvGrpSpPr/>
          <p:nvPr/>
        </p:nvGrpSpPr>
        <p:grpSpPr>
          <a:xfrm>
            <a:off x="3193774" y="1162458"/>
            <a:ext cx="1524000" cy="1827548"/>
            <a:chOff x="3193774" y="1162458"/>
            <a:chExt cx="1524000" cy="1827548"/>
          </a:xfrm>
        </p:grpSpPr>
        <p:sp>
          <p:nvSpPr>
            <p:cNvPr id="5" name="Avrundet rektangel 4"/>
            <p:cNvSpPr/>
            <p:nvPr/>
          </p:nvSpPr>
          <p:spPr>
            <a:xfrm>
              <a:off x="3193774" y="1470991"/>
              <a:ext cx="1524000" cy="1519015"/>
            </a:xfrm>
            <a:prstGeom prst="round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TekstSylinder 14"/>
            <p:cNvSpPr txBox="1"/>
            <p:nvPr/>
          </p:nvSpPr>
          <p:spPr>
            <a:xfrm>
              <a:off x="3528391" y="1162458"/>
              <a:ext cx="990600" cy="307777"/>
            </a:xfrm>
            <a:prstGeom prst="rect">
              <a:avLst/>
            </a:prstGeom>
            <a:noFill/>
          </p:spPr>
          <p:txBody>
            <a:bodyPr wrap="square" rtlCol="0">
              <a:spAutoFit/>
            </a:bodyPr>
            <a:lstStyle/>
            <a:p>
              <a:r>
                <a:rPr lang="nb-NO" dirty="0"/>
                <a:t>IT-system</a:t>
              </a:r>
            </a:p>
          </p:txBody>
        </p:sp>
      </p:grpSp>
      <p:pic>
        <p:nvPicPr>
          <p:cNvPr id="22" name="Bilde 21"/>
          <p:cNvPicPr>
            <a:picLocks noChangeAspect="1"/>
          </p:cNvPicPr>
          <p:nvPr/>
        </p:nvPicPr>
        <p:blipFill>
          <a:blip r:embed="rId9"/>
          <a:stretch>
            <a:fillRect/>
          </a:stretch>
        </p:blipFill>
        <p:spPr>
          <a:xfrm>
            <a:off x="5259519" y="827400"/>
            <a:ext cx="3293476" cy="4028681"/>
          </a:xfrm>
          <a:prstGeom prst="rect">
            <a:avLst/>
          </a:prstGeom>
        </p:spPr>
      </p:pic>
    </p:spTree>
    <p:extLst>
      <p:ext uri="{BB962C8B-B14F-4D97-AF65-F5344CB8AC3E}">
        <p14:creationId xmlns:p14="http://schemas.microsoft.com/office/powerpoint/2010/main" val="2166370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ssholder for innhold 3"/>
          <p:cNvPicPr>
            <a:picLocks noChangeAspect="1"/>
          </p:cNvPicPr>
          <p:nvPr/>
        </p:nvPicPr>
        <p:blipFill>
          <a:blip r:embed="rId2"/>
          <a:stretch>
            <a:fillRect/>
          </a:stretch>
        </p:blipFill>
        <p:spPr>
          <a:xfrm>
            <a:off x="5465806" y="1341002"/>
            <a:ext cx="2806465" cy="3456663"/>
          </a:xfrm>
          <a:prstGeom prst="rect">
            <a:avLst/>
          </a:prstGeom>
        </p:spPr>
      </p:pic>
      <p:sp>
        <p:nvSpPr>
          <p:cNvPr id="6" name="Plassholder for innhold 1"/>
          <p:cNvSpPr>
            <a:spLocks noGrp="1"/>
          </p:cNvSpPr>
          <p:nvPr>
            <p:ph sz="half" idx="2"/>
          </p:nvPr>
        </p:nvSpPr>
        <p:spPr>
          <a:xfrm>
            <a:off x="321979" y="1341002"/>
            <a:ext cx="5031899" cy="3495989"/>
          </a:xfrm>
        </p:spPr>
        <p:txBody>
          <a:bodyPr/>
          <a:lstStyle/>
          <a:p>
            <a:r>
              <a:rPr lang="nb-NO" dirty="0"/>
              <a:t>Det krever endring i hvordan vi styrer utvikling og endring av </a:t>
            </a:r>
            <a:r>
              <a:rPr lang="nb-NO" dirty="0" smtClean="0"/>
              <a:t>produkter og informasjon </a:t>
            </a:r>
            <a:endParaRPr lang="nb-NO" dirty="0"/>
          </a:p>
        </p:txBody>
      </p:sp>
      <p:grpSp>
        <p:nvGrpSpPr>
          <p:cNvPr id="7" name="Gruppe 6"/>
          <p:cNvGrpSpPr/>
          <p:nvPr/>
        </p:nvGrpSpPr>
        <p:grpSpPr>
          <a:xfrm>
            <a:off x="652000" y="2640685"/>
            <a:ext cx="3326631" cy="2470750"/>
            <a:chOff x="1135989" y="611733"/>
            <a:chExt cx="747674" cy="747674"/>
          </a:xfrm>
        </p:grpSpPr>
        <p:sp>
          <p:nvSpPr>
            <p:cNvPr id="8" name="Figur 7"/>
            <p:cNvSpPr/>
            <p:nvPr/>
          </p:nvSpPr>
          <p:spPr>
            <a:xfrm>
              <a:off x="1135989" y="611733"/>
              <a:ext cx="747674" cy="747674"/>
            </a:xfrm>
            <a:prstGeom prst="gear9">
              <a:avLst/>
            </a:prstGeom>
            <a:solidFill>
              <a:srgbClr val="0070C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Figur 4"/>
            <p:cNvSpPr txBox="1"/>
            <p:nvPr/>
          </p:nvSpPr>
          <p:spPr>
            <a:xfrm>
              <a:off x="1286305" y="786872"/>
              <a:ext cx="447042" cy="38432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2800" b="0" i="0" u="none" strike="noStrike" kern="1200" cap="none" spc="0" normalizeH="0" baseline="0" noProof="0" dirty="0">
                  <a:ln>
                    <a:noFill/>
                  </a:ln>
                  <a:solidFill>
                    <a:prstClr val="white"/>
                  </a:solidFill>
                  <a:effectLst/>
                  <a:uLnTx/>
                  <a:uFillTx/>
                  <a:latin typeface="Arial" panose="020B0604020202020204"/>
                  <a:ea typeface="+mn-ea"/>
                  <a:cs typeface="+mn-cs"/>
                </a:rPr>
                <a:t>Informasjon</a:t>
              </a:r>
            </a:p>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1050" b="0" i="0" u="none" strike="noStrike" kern="1200" cap="none" spc="0" normalizeH="0" baseline="0" noProof="0" dirty="0">
                  <a:ln>
                    <a:noFill/>
                  </a:ln>
                  <a:solidFill>
                    <a:prstClr val="white"/>
                  </a:solidFill>
                  <a:effectLst/>
                  <a:uLnTx/>
                  <a:uFillTx/>
                  <a:latin typeface="Arial" panose="020B0604020202020204"/>
                  <a:ea typeface="+mn-ea"/>
                  <a:cs typeface="+mn-cs"/>
                </a:rPr>
                <a:t>«Kun en gang»</a:t>
              </a:r>
            </a:p>
          </p:txBody>
        </p:sp>
      </p:grpSp>
      <p:grpSp>
        <p:nvGrpSpPr>
          <p:cNvPr id="10" name="Gruppe 9"/>
          <p:cNvGrpSpPr/>
          <p:nvPr/>
        </p:nvGrpSpPr>
        <p:grpSpPr>
          <a:xfrm>
            <a:off x="2226745" y="2081328"/>
            <a:ext cx="726019" cy="688930"/>
            <a:chOff x="700979" y="435010"/>
            <a:chExt cx="543763" cy="543763"/>
          </a:xfrm>
        </p:grpSpPr>
        <p:sp>
          <p:nvSpPr>
            <p:cNvPr id="11" name="Figur 10"/>
            <p:cNvSpPr/>
            <p:nvPr/>
          </p:nvSpPr>
          <p:spPr>
            <a:xfrm>
              <a:off x="700979" y="435010"/>
              <a:ext cx="543763" cy="543763"/>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Figur 4"/>
            <p:cNvSpPr txBox="1"/>
            <p:nvPr/>
          </p:nvSpPr>
          <p:spPr>
            <a:xfrm>
              <a:off x="837873" y="572731"/>
              <a:ext cx="269975" cy="2683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500" b="0" i="0" u="none" strike="noStrike" kern="1200" cap="none" spc="0" normalizeH="0" baseline="0" noProof="0" dirty="0">
                  <a:ln>
                    <a:noFill/>
                  </a:ln>
                  <a:solidFill>
                    <a:prstClr val="white"/>
                  </a:solidFill>
                  <a:effectLst/>
                  <a:uLnTx/>
                  <a:uFillTx/>
                  <a:latin typeface="Arial" panose="020B0604020202020204"/>
                  <a:ea typeface="+mn-ea"/>
                  <a:cs typeface="+mn-cs"/>
                </a:rPr>
                <a:t>Prosess</a:t>
              </a:r>
            </a:p>
          </p:txBody>
        </p:sp>
      </p:grpSp>
      <p:grpSp>
        <p:nvGrpSpPr>
          <p:cNvPr id="13" name="Gruppe 12"/>
          <p:cNvGrpSpPr/>
          <p:nvPr/>
        </p:nvGrpSpPr>
        <p:grpSpPr>
          <a:xfrm rot="21086139">
            <a:off x="3343868" y="2585601"/>
            <a:ext cx="726019" cy="688930"/>
            <a:chOff x="700979" y="435010"/>
            <a:chExt cx="543763" cy="543763"/>
          </a:xfrm>
        </p:grpSpPr>
        <p:sp>
          <p:nvSpPr>
            <p:cNvPr id="14" name="Figur 13"/>
            <p:cNvSpPr/>
            <p:nvPr/>
          </p:nvSpPr>
          <p:spPr>
            <a:xfrm>
              <a:off x="700979" y="435010"/>
              <a:ext cx="543763" cy="543763"/>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igur 4"/>
            <p:cNvSpPr txBox="1"/>
            <p:nvPr/>
          </p:nvSpPr>
          <p:spPr>
            <a:xfrm>
              <a:off x="837873" y="572731"/>
              <a:ext cx="269975" cy="2683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500" b="0" i="0" u="none" strike="noStrike" kern="1200" cap="none" spc="0" normalizeH="0" baseline="0" noProof="0" dirty="0">
                  <a:ln>
                    <a:noFill/>
                  </a:ln>
                  <a:solidFill>
                    <a:prstClr val="white"/>
                  </a:solidFill>
                  <a:effectLst/>
                  <a:uLnTx/>
                  <a:uFillTx/>
                  <a:latin typeface="Arial" panose="020B0604020202020204"/>
                  <a:ea typeface="+mn-ea"/>
                  <a:cs typeface="+mn-cs"/>
                </a:rPr>
                <a:t>Prosess</a:t>
              </a:r>
            </a:p>
          </p:txBody>
        </p:sp>
      </p:grpSp>
      <p:grpSp>
        <p:nvGrpSpPr>
          <p:cNvPr id="16" name="Gruppe 15"/>
          <p:cNvGrpSpPr/>
          <p:nvPr/>
        </p:nvGrpSpPr>
        <p:grpSpPr>
          <a:xfrm rot="20796545">
            <a:off x="1117863" y="2273763"/>
            <a:ext cx="726019" cy="688930"/>
            <a:chOff x="700979" y="435010"/>
            <a:chExt cx="543763" cy="543763"/>
          </a:xfrm>
        </p:grpSpPr>
        <p:sp>
          <p:nvSpPr>
            <p:cNvPr id="17" name="Figur 16"/>
            <p:cNvSpPr/>
            <p:nvPr/>
          </p:nvSpPr>
          <p:spPr>
            <a:xfrm>
              <a:off x="700979" y="435010"/>
              <a:ext cx="543763" cy="543763"/>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Figur 4"/>
            <p:cNvSpPr txBox="1"/>
            <p:nvPr/>
          </p:nvSpPr>
          <p:spPr>
            <a:xfrm>
              <a:off x="837873" y="572731"/>
              <a:ext cx="269975" cy="2683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500" b="0" i="0" u="none" strike="noStrike" kern="1200" cap="none" spc="0" normalizeH="0" baseline="0" noProof="0" dirty="0">
                  <a:ln>
                    <a:noFill/>
                  </a:ln>
                  <a:solidFill>
                    <a:prstClr val="white"/>
                  </a:solidFill>
                  <a:effectLst/>
                  <a:uLnTx/>
                  <a:uFillTx/>
                  <a:latin typeface="Arial" panose="020B0604020202020204"/>
                  <a:ea typeface="+mn-ea"/>
                  <a:cs typeface="+mn-cs"/>
                </a:rPr>
                <a:t>Prosess</a:t>
              </a:r>
            </a:p>
          </p:txBody>
        </p:sp>
      </p:grpSp>
      <p:grpSp>
        <p:nvGrpSpPr>
          <p:cNvPr id="19" name="Gruppe 18"/>
          <p:cNvGrpSpPr/>
          <p:nvPr/>
        </p:nvGrpSpPr>
        <p:grpSpPr>
          <a:xfrm rot="1925222">
            <a:off x="3834407" y="3531594"/>
            <a:ext cx="726019" cy="688930"/>
            <a:chOff x="700979" y="435010"/>
            <a:chExt cx="543763" cy="543763"/>
          </a:xfrm>
        </p:grpSpPr>
        <p:sp>
          <p:nvSpPr>
            <p:cNvPr id="20" name="Figur 19"/>
            <p:cNvSpPr/>
            <p:nvPr/>
          </p:nvSpPr>
          <p:spPr>
            <a:xfrm>
              <a:off x="700979" y="435010"/>
              <a:ext cx="543763" cy="543763"/>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Figur 4"/>
            <p:cNvSpPr txBox="1"/>
            <p:nvPr/>
          </p:nvSpPr>
          <p:spPr>
            <a:xfrm>
              <a:off x="837873" y="572731"/>
              <a:ext cx="269975" cy="2683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500" b="0" i="0" u="none" strike="noStrike" kern="1200" cap="none" spc="0" normalizeH="0" baseline="0" noProof="0" dirty="0">
                  <a:ln>
                    <a:noFill/>
                  </a:ln>
                  <a:solidFill>
                    <a:prstClr val="white"/>
                  </a:solidFill>
                  <a:effectLst/>
                  <a:uLnTx/>
                  <a:uFillTx/>
                  <a:latin typeface="Arial" panose="020B0604020202020204"/>
                  <a:ea typeface="+mn-ea"/>
                  <a:cs typeface="+mn-cs"/>
                </a:rPr>
                <a:t>Prosess</a:t>
              </a:r>
            </a:p>
          </p:txBody>
        </p:sp>
      </p:grpSp>
      <p:sp>
        <p:nvSpPr>
          <p:cNvPr id="22" name="TekstSylinder 21"/>
          <p:cNvSpPr txBox="1"/>
          <p:nvPr/>
        </p:nvSpPr>
        <p:spPr>
          <a:xfrm>
            <a:off x="801109" y="457200"/>
            <a:ext cx="8130856" cy="461665"/>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Arial" panose="020B0604020202020204"/>
                <a:ea typeface="+mn-ea"/>
                <a:cs typeface="+mn-cs"/>
              </a:rPr>
              <a:t>«Kun en gang» </a:t>
            </a:r>
            <a:r>
              <a:rPr lang="nb-NO" sz="2400" b="1" noProof="0" dirty="0">
                <a:solidFill>
                  <a:prstClr val="black"/>
                </a:solidFill>
                <a:latin typeface="Arial" panose="020B0604020202020204"/>
              </a:rPr>
              <a:t>gjør også data til «felleskomponenter»</a:t>
            </a:r>
            <a:endParaRPr kumimoji="0" lang="nb-NO" sz="2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3" name="Gruppe 22"/>
          <p:cNvGrpSpPr/>
          <p:nvPr/>
        </p:nvGrpSpPr>
        <p:grpSpPr>
          <a:xfrm>
            <a:off x="653875" y="2040678"/>
            <a:ext cx="671282" cy="635604"/>
            <a:chOff x="1005541" y="59869"/>
            <a:chExt cx="532776" cy="532776"/>
          </a:xfrm>
        </p:grpSpPr>
        <p:sp>
          <p:nvSpPr>
            <p:cNvPr id="24" name="Figur 23"/>
            <p:cNvSpPr/>
            <p:nvPr/>
          </p:nvSpPr>
          <p:spPr>
            <a:xfrm rot="20700000">
              <a:off x="1005541" y="59869"/>
              <a:ext cx="532776" cy="53277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Figur 4"/>
            <p:cNvSpPr txBox="1"/>
            <p:nvPr/>
          </p:nvSpPr>
          <p:spPr>
            <a:xfrm>
              <a:off x="1122395" y="176723"/>
              <a:ext cx="299069" cy="2990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p:txBody>
        </p:sp>
      </p:grpSp>
      <p:grpSp>
        <p:nvGrpSpPr>
          <p:cNvPr id="26" name="Gruppe 25"/>
          <p:cNvGrpSpPr/>
          <p:nvPr/>
        </p:nvGrpSpPr>
        <p:grpSpPr>
          <a:xfrm>
            <a:off x="3910414" y="2358480"/>
            <a:ext cx="671282" cy="635604"/>
            <a:chOff x="1005541" y="59869"/>
            <a:chExt cx="532776" cy="532776"/>
          </a:xfrm>
        </p:grpSpPr>
        <p:sp>
          <p:nvSpPr>
            <p:cNvPr id="27" name="Figur 26"/>
            <p:cNvSpPr/>
            <p:nvPr/>
          </p:nvSpPr>
          <p:spPr>
            <a:xfrm rot="20700000">
              <a:off x="1005541" y="59869"/>
              <a:ext cx="532776" cy="53277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Figur 4"/>
            <p:cNvSpPr txBox="1"/>
            <p:nvPr/>
          </p:nvSpPr>
          <p:spPr>
            <a:xfrm>
              <a:off x="1122395" y="176723"/>
              <a:ext cx="299069" cy="2990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p:txBody>
        </p:sp>
      </p:grpSp>
      <p:grpSp>
        <p:nvGrpSpPr>
          <p:cNvPr id="29" name="Gruppe 28"/>
          <p:cNvGrpSpPr/>
          <p:nvPr/>
        </p:nvGrpSpPr>
        <p:grpSpPr>
          <a:xfrm>
            <a:off x="4456283" y="3480208"/>
            <a:ext cx="671282" cy="635604"/>
            <a:chOff x="1005541" y="59869"/>
            <a:chExt cx="532776" cy="532776"/>
          </a:xfrm>
        </p:grpSpPr>
        <p:sp>
          <p:nvSpPr>
            <p:cNvPr id="30" name="Figur 29"/>
            <p:cNvSpPr/>
            <p:nvPr/>
          </p:nvSpPr>
          <p:spPr>
            <a:xfrm rot="20700000">
              <a:off x="1005541" y="59869"/>
              <a:ext cx="532776" cy="53277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Figur 4"/>
            <p:cNvSpPr txBox="1"/>
            <p:nvPr/>
          </p:nvSpPr>
          <p:spPr>
            <a:xfrm>
              <a:off x="1122395" y="176723"/>
              <a:ext cx="299069" cy="2990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p:txBody>
        </p:sp>
      </p:grpSp>
      <p:grpSp>
        <p:nvGrpSpPr>
          <p:cNvPr id="32" name="Gruppe 31"/>
          <p:cNvGrpSpPr/>
          <p:nvPr/>
        </p:nvGrpSpPr>
        <p:grpSpPr>
          <a:xfrm>
            <a:off x="2800622" y="1900746"/>
            <a:ext cx="671282" cy="635604"/>
            <a:chOff x="1005541" y="59869"/>
            <a:chExt cx="532776" cy="532776"/>
          </a:xfrm>
        </p:grpSpPr>
        <p:sp>
          <p:nvSpPr>
            <p:cNvPr id="33" name="Figur 32"/>
            <p:cNvSpPr/>
            <p:nvPr/>
          </p:nvSpPr>
          <p:spPr>
            <a:xfrm rot="20700000">
              <a:off x="1005541" y="59869"/>
              <a:ext cx="532776" cy="53277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4" name="Figur 4"/>
            <p:cNvSpPr txBox="1"/>
            <p:nvPr/>
          </p:nvSpPr>
          <p:spPr>
            <a:xfrm>
              <a:off x="1122395" y="176723"/>
              <a:ext cx="299069" cy="2990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p:txBody>
        </p:sp>
      </p:grpSp>
    </p:spTree>
    <p:extLst>
      <p:ext uri="{BB962C8B-B14F-4D97-AF65-F5344CB8AC3E}">
        <p14:creationId xmlns:p14="http://schemas.microsoft.com/office/powerpoint/2010/main" val="328363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100" name="Rektangel 99"/>
          <p:cNvSpPr/>
          <p:nvPr/>
        </p:nvSpPr>
        <p:spPr>
          <a:xfrm>
            <a:off x="1327549" y="3340450"/>
            <a:ext cx="1652383" cy="794044"/>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5" name="Rektangel 124"/>
          <p:cNvSpPr/>
          <p:nvPr/>
        </p:nvSpPr>
        <p:spPr>
          <a:xfrm>
            <a:off x="1573381" y="859873"/>
            <a:ext cx="2685737" cy="12932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smtClean="0">
                <a:ln>
                  <a:noFill/>
                </a:ln>
                <a:solidFill>
                  <a:prstClr val="white"/>
                </a:solidFill>
                <a:effectLst/>
                <a:uLnTx/>
                <a:uFillTx/>
                <a:latin typeface="Calibri" panose="020F0502020204030204"/>
                <a:ea typeface="+mn-ea"/>
                <a:cs typeface="+mn-cs"/>
              </a:rPr>
              <a:t>Informasjon og analyseplattform</a:t>
            </a:r>
            <a:endParaRPr kumimoji="0" lang="nb-NO"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Rektangel 24"/>
          <p:cNvSpPr/>
          <p:nvPr/>
        </p:nvSpPr>
        <p:spPr>
          <a:xfrm>
            <a:off x="-12068" y="3317526"/>
            <a:ext cx="1311834" cy="830997"/>
          </a:xfrm>
          <a:prstGeom prst="rect">
            <a:avLst/>
          </a:prstGeom>
        </p:spPr>
        <p:txBody>
          <a:bodyPr wrap="none">
            <a:spAutoFit/>
          </a:bodyP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err="1">
                <a:ln>
                  <a:noFill/>
                </a:ln>
                <a:solidFill>
                  <a:prstClr val="white"/>
                </a:solidFill>
                <a:effectLst/>
                <a:uLnTx/>
                <a:uFillTx/>
                <a:latin typeface="Calibri" panose="020F0502020204030204"/>
                <a:ea typeface="+mn-ea"/>
                <a:cs typeface="+mn-cs"/>
              </a:rPr>
              <a:t>Skattekister</a:t>
            </a:r>
            <a:endParaRPr kumimoji="0" lang="nb-NO" sz="1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white"/>
                </a:solidFill>
                <a:effectLst/>
                <a:uLnTx/>
                <a:uFillTx/>
                <a:latin typeface="Calibri" panose="020F0502020204030204"/>
                <a:ea typeface="+mn-ea"/>
                <a:cs typeface="+mn-cs"/>
              </a:rPr>
              <a:t>med datasett</a:t>
            </a: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white"/>
                </a:solidFill>
                <a:effectLst/>
                <a:uLnTx/>
                <a:uFillTx/>
                <a:latin typeface="Calibri" panose="020F0502020204030204"/>
                <a:ea typeface="+mn-ea"/>
                <a:cs typeface="+mn-cs"/>
              </a:rPr>
              <a:t>(Skatteinfo)</a:t>
            </a:r>
          </a:p>
        </p:txBody>
      </p:sp>
      <p:sp>
        <p:nvSpPr>
          <p:cNvPr id="46" name="Avrund ett hjørne i rektangel 45"/>
          <p:cNvSpPr/>
          <p:nvPr/>
        </p:nvSpPr>
        <p:spPr>
          <a:xfrm>
            <a:off x="1397232" y="3519237"/>
            <a:ext cx="382352"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32" name="Avrund ett hjørne i rektangel 131"/>
          <p:cNvSpPr/>
          <p:nvPr/>
        </p:nvSpPr>
        <p:spPr>
          <a:xfrm>
            <a:off x="1815843" y="3523008"/>
            <a:ext cx="34023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34" name="Avrund ett hjørne i rektangel 133"/>
          <p:cNvSpPr/>
          <p:nvPr/>
        </p:nvSpPr>
        <p:spPr>
          <a:xfrm>
            <a:off x="2192339" y="3521912"/>
            <a:ext cx="337209"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36" name="Avrund ett hjørne i rektangel 135"/>
          <p:cNvSpPr/>
          <p:nvPr/>
        </p:nvSpPr>
        <p:spPr>
          <a:xfrm>
            <a:off x="2599281" y="3521912"/>
            <a:ext cx="330833"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38" name="Rektangel 137"/>
          <p:cNvSpPr/>
          <p:nvPr/>
        </p:nvSpPr>
        <p:spPr>
          <a:xfrm>
            <a:off x="3116626" y="3340450"/>
            <a:ext cx="1685939" cy="794044"/>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0" name="Avrund ett hjørne i rektangel 139"/>
          <p:cNvSpPr/>
          <p:nvPr/>
        </p:nvSpPr>
        <p:spPr>
          <a:xfrm>
            <a:off x="3186309" y="3519237"/>
            <a:ext cx="382352"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41" name="Avrund ett hjørne i rektangel 140"/>
          <p:cNvSpPr/>
          <p:nvPr/>
        </p:nvSpPr>
        <p:spPr>
          <a:xfrm>
            <a:off x="3604920" y="3523008"/>
            <a:ext cx="34023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42" name="Avrund ett hjørne i rektangel 141"/>
          <p:cNvSpPr/>
          <p:nvPr/>
        </p:nvSpPr>
        <p:spPr>
          <a:xfrm>
            <a:off x="3981416" y="3521912"/>
            <a:ext cx="337210"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43" name="Avrund ett hjørne i rektangel 142"/>
          <p:cNvSpPr/>
          <p:nvPr/>
        </p:nvSpPr>
        <p:spPr>
          <a:xfrm>
            <a:off x="4388358" y="3521912"/>
            <a:ext cx="332623"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44" name="Rektangel 143"/>
          <p:cNvSpPr/>
          <p:nvPr/>
        </p:nvSpPr>
        <p:spPr>
          <a:xfrm>
            <a:off x="4905704" y="3336209"/>
            <a:ext cx="1710801" cy="772114"/>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6" name="Avrund ett hjørne i rektangel 145"/>
          <p:cNvSpPr/>
          <p:nvPr/>
        </p:nvSpPr>
        <p:spPr>
          <a:xfrm>
            <a:off x="4997041" y="3514996"/>
            <a:ext cx="382352"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49" name="Avrund ett hjørne i rektangel 148"/>
          <p:cNvSpPr/>
          <p:nvPr/>
        </p:nvSpPr>
        <p:spPr>
          <a:xfrm>
            <a:off x="5415652" y="3518767"/>
            <a:ext cx="34023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52" name="Avrund ett hjørne i rektangel 151"/>
          <p:cNvSpPr/>
          <p:nvPr/>
        </p:nvSpPr>
        <p:spPr>
          <a:xfrm>
            <a:off x="5792148" y="3517671"/>
            <a:ext cx="349492"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53" name="Avrund ett hjørne i rektangel 152"/>
          <p:cNvSpPr/>
          <p:nvPr/>
        </p:nvSpPr>
        <p:spPr>
          <a:xfrm>
            <a:off x="6199090" y="3517671"/>
            <a:ext cx="332623"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55" name="Rektangel 154"/>
          <p:cNvSpPr/>
          <p:nvPr/>
        </p:nvSpPr>
        <p:spPr>
          <a:xfrm>
            <a:off x="6774825" y="3336208"/>
            <a:ext cx="1786079" cy="771452"/>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6" name="Avrund ett hjørne i rektangel 155"/>
          <p:cNvSpPr/>
          <p:nvPr/>
        </p:nvSpPr>
        <p:spPr>
          <a:xfrm>
            <a:off x="6844508" y="3514996"/>
            <a:ext cx="382352"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57" name="Avrund ett hjørne i rektangel 156"/>
          <p:cNvSpPr/>
          <p:nvPr/>
        </p:nvSpPr>
        <p:spPr>
          <a:xfrm>
            <a:off x="7263120" y="3518767"/>
            <a:ext cx="37649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59" name="Avrund ett hjørne i rektangel 158"/>
          <p:cNvSpPr/>
          <p:nvPr/>
        </p:nvSpPr>
        <p:spPr>
          <a:xfrm>
            <a:off x="7679371" y="3517671"/>
            <a:ext cx="337210"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60" name="Avrund ett hjørne i rektangel 159"/>
          <p:cNvSpPr/>
          <p:nvPr/>
        </p:nvSpPr>
        <p:spPr>
          <a:xfrm>
            <a:off x="8046557" y="3517671"/>
            <a:ext cx="338063"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61" name="Rektangel 160"/>
          <p:cNvSpPr/>
          <p:nvPr/>
        </p:nvSpPr>
        <p:spPr>
          <a:xfrm>
            <a:off x="4997041" y="864357"/>
            <a:ext cx="2682330" cy="13036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Calibri" panose="020F0502020204030204"/>
                <a:ea typeface="+mn-ea"/>
                <a:cs typeface="+mn-cs"/>
              </a:rPr>
              <a:t>Datasamarbeid </a:t>
            </a: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Calibri" panose="020F0502020204030204"/>
                <a:ea typeface="+mn-ea"/>
                <a:cs typeface="+mn-cs"/>
              </a:rPr>
              <a:t>(deling)</a:t>
            </a:r>
            <a:endParaRPr kumimoji="0" lang="nb-NO" sz="74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2" name="Avrundet rektangel 161"/>
          <p:cNvSpPr/>
          <p:nvPr/>
        </p:nvSpPr>
        <p:spPr>
          <a:xfrm rot="10800000" flipV="1">
            <a:off x="3100848" y="3953608"/>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Skatt</a:t>
            </a:r>
          </a:p>
        </p:txBody>
      </p:sp>
      <p:sp>
        <p:nvSpPr>
          <p:cNvPr id="164" name="Avrundet rektangel 163"/>
          <p:cNvSpPr/>
          <p:nvPr/>
        </p:nvSpPr>
        <p:spPr>
          <a:xfrm rot="10800000" flipV="1">
            <a:off x="4915501" y="3927436"/>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Avgift</a:t>
            </a:r>
          </a:p>
        </p:txBody>
      </p:sp>
      <p:sp>
        <p:nvSpPr>
          <p:cNvPr id="165" name="Avrundet rektangel 164"/>
          <p:cNvSpPr/>
          <p:nvPr/>
        </p:nvSpPr>
        <p:spPr>
          <a:xfrm rot="10800000" flipV="1">
            <a:off x="6769594" y="3926775"/>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Innkreving</a:t>
            </a:r>
          </a:p>
        </p:txBody>
      </p:sp>
      <p:sp>
        <p:nvSpPr>
          <p:cNvPr id="167" name="Avrund ett hjørne i rektangel 166"/>
          <p:cNvSpPr/>
          <p:nvPr/>
        </p:nvSpPr>
        <p:spPr>
          <a:xfrm>
            <a:off x="2236849" y="1715040"/>
            <a:ext cx="326391"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cxnSp>
        <p:nvCxnSpPr>
          <p:cNvPr id="29" name="Rett pilkobling 28"/>
          <p:cNvCxnSpPr/>
          <p:nvPr/>
        </p:nvCxnSpPr>
        <p:spPr>
          <a:xfrm flipV="1">
            <a:off x="1576149" y="1978242"/>
            <a:ext cx="790463" cy="15367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0" name="Avrund ett hjørne i rektangel 169"/>
          <p:cNvSpPr/>
          <p:nvPr/>
        </p:nvSpPr>
        <p:spPr>
          <a:xfrm>
            <a:off x="2876849" y="1715040"/>
            <a:ext cx="541576"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D2</a:t>
            </a:r>
          </a:p>
        </p:txBody>
      </p:sp>
      <p:cxnSp>
        <p:nvCxnSpPr>
          <p:cNvPr id="171" name="Rett pilkobling 170"/>
          <p:cNvCxnSpPr/>
          <p:nvPr/>
        </p:nvCxnSpPr>
        <p:spPr>
          <a:xfrm flipV="1">
            <a:off x="2366612" y="1970230"/>
            <a:ext cx="710938" cy="15447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Rett pilkobling 171"/>
          <p:cNvCxnSpPr>
            <a:stCxn id="141" idx="0"/>
          </p:cNvCxnSpPr>
          <p:nvPr/>
        </p:nvCxnSpPr>
        <p:spPr>
          <a:xfrm flipH="1" flipV="1">
            <a:off x="3175018" y="1978242"/>
            <a:ext cx="600020" cy="15447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Rett pilkobling 172"/>
          <p:cNvCxnSpPr/>
          <p:nvPr/>
        </p:nvCxnSpPr>
        <p:spPr>
          <a:xfrm flipV="1">
            <a:off x="5245768" y="1990826"/>
            <a:ext cx="709360" cy="152417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4" name="Avrund ett hjørne i rektangel 173"/>
          <p:cNvSpPr/>
          <p:nvPr/>
        </p:nvSpPr>
        <p:spPr>
          <a:xfrm>
            <a:off x="5791448" y="1736435"/>
            <a:ext cx="382352"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cxnSp>
        <p:nvCxnSpPr>
          <p:cNvPr id="175" name="Rett pilkobling 174"/>
          <p:cNvCxnSpPr>
            <a:stCxn id="157" idx="0"/>
          </p:cNvCxnSpPr>
          <p:nvPr/>
        </p:nvCxnSpPr>
        <p:spPr>
          <a:xfrm flipH="1" flipV="1">
            <a:off x="6888380" y="1999637"/>
            <a:ext cx="562988" cy="151913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6" name="Avrund ett hjørne i rektangel 175"/>
          <p:cNvSpPr/>
          <p:nvPr/>
        </p:nvSpPr>
        <p:spPr>
          <a:xfrm>
            <a:off x="6735575" y="1691365"/>
            <a:ext cx="357516" cy="31055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50" name="Avrundet rektangel 49"/>
          <p:cNvSpPr/>
          <p:nvPr/>
        </p:nvSpPr>
        <p:spPr>
          <a:xfrm rot="10800000" flipV="1">
            <a:off x="1322318" y="3961226"/>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Grunnlagsdata</a:t>
            </a:r>
          </a:p>
        </p:txBody>
      </p:sp>
    </p:spTree>
    <p:extLst>
      <p:ext uri="{BB962C8B-B14F-4D97-AF65-F5344CB8AC3E}">
        <p14:creationId xmlns:p14="http://schemas.microsoft.com/office/powerpoint/2010/main" val="268263952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100" name="Rektangel 99"/>
          <p:cNvSpPr/>
          <p:nvPr/>
        </p:nvSpPr>
        <p:spPr>
          <a:xfrm>
            <a:off x="1260175" y="3340447"/>
            <a:ext cx="1645474" cy="801662"/>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5" name="Rektangel 124"/>
          <p:cNvSpPr/>
          <p:nvPr/>
        </p:nvSpPr>
        <p:spPr>
          <a:xfrm>
            <a:off x="1583681" y="864354"/>
            <a:ext cx="2793509" cy="12932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white"/>
                </a:solidFill>
                <a:effectLst/>
                <a:uLnTx/>
                <a:uFillTx/>
                <a:latin typeface="Calibri" panose="020F0502020204030204"/>
                <a:ea typeface="+mn-ea"/>
                <a:cs typeface="+mn-cs"/>
              </a:rPr>
              <a:t>Minerva </a:t>
            </a: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white"/>
                </a:solidFill>
                <a:effectLst/>
                <a:uLnTx/>
                <a:uFillTx/>
                <a:latin typeface="Calibri" panose="020F0502020204030204"/>
                <a:ea typeface="+mn-ea"/>
                <a:cs typeface="+mn-cs"/>
              </a:rPr>
              <a:t>(analyse og rapportering)</a:t>
            </a:r>
          </a:p>
        </p:txBody>
      </p:sp>
      <p:sp>
        <p:nvSpPr>
          <p:cNvPr id="25" name="Rektangel 24"/>
          <p:cNvSpPr/>
          <p:nvPr/>
        </p:nvSpPr>
        <p:spPr>
          <a:xfrm>
            <a:off x="-53251" y="3295254"/>
            <a:ext cx="1311834" cy="830997"/>
          </a:xfrm>
          <a:prstGeom prst="rect">
            <a:avLst/>
          </a:prstGeom>
        </p:spPr>
        <p:txBody>
          <a:bodyPr wrap="none">
            <a:spAutoFit/>
          </a:bodyP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err="1">
                <a:ln>
                  <a:noFill/>
                </a:ln>
                <a:solidFill>
                  <a:prstClr val="white"/>
                </a:solidFill>
                <a:effectLst/>
                <a:uLnTx/>
                <a:uFillTx/>
                <a:latin typeface="Calibri" panose="020F0502020204030204"/>
                <a:ea typeface="+mn-ea"/>
                <a:cs typeface="+mn-cs"/>
              </a:rPr>
              <a:t>Skattekister</a:t>
            </a:r>
            <a:endParaRPr kumimoji="0" lang="nb-NO" sz="1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white"/>
                </a:solidFill>
                <a:effectLst/>
                <a:uLnTx/>
                <a:uFillTx/>
                <a:latin typeface="Calibri" panose="020F0502020204030204"/>
                <a:ea typeface="+mn-ea"/>
                <a:cs typeface="+mn-cs"/>
              </a:rPr>
              <a:t>med datasett</a:t>
            </a: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white"/>
                </a:solidFill>
                <a:effectLst/>
                <a:uLnTx/>
                <a:uFillTx/>
                <a:latin typeface="Calibri" panose="020F0502020204030204"/>
                <a:ea typeface="+mn-ea"/>
                <a:cs typeface="+mn-cs"/>
              </a:rPr>
              <a:t>(Skatteinfo)</a:t>
            </a:r>
          </a:p>
        </p:txBody>
      </p:sp>
      <p:sp>
        <p:nvSpPr>
          <p:cNvPr id="46" name="Avrund ett hjørne i rektangel 45"/>
          <p:cNvSpPr/>
          <p:nvPr/>
        </p:nvSpPr>
        <p:spPr>
          <a:xfrm rot="20119992">
            <a:off x="1317219" y="3521304"/>
            <a:ext cx="393281" cy="328229"/>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32" name="Avrund ett hjørne i rektangel 131"/>
          <p:cNvSpPr/>
          <p:nvPr/>
        </p:nvSpPr>
        <p:spPr>
          <a:xfrm rot="3826055">
            <a:off x="1743533" y="3530938"/>
            <a:ext cx="33842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34" name="Avrund ett hjørne i rektangel 133"/>
          <p:cNvSpPr/>
          <p:nvPr/>
        </p:nvSpPr>
        <p:spPr>
          <a:xfrm rot="1704503">
            <a:off x="2120228" y="3530277"/>
            <a:ext cx="356088" cy="273545"/>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36" name="Avrund ett hjørne i rektangel 135"/>
          <p:cNvSpPr/>
          <p:nvPr/>
        </p:nvSpPr>
        <p:spPr>
          <a:xfrm rot="4451396">
            <a:off x="2525496" y="3530385"/>
            <a:ext cx="337111"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38" name="Rektangel 137"/>
          <p:cNvSpPr/>
          <p:nvPr/>
        </p:nvSpPr>
        <p:spPr>
          <a:xfrm>
            <a:off x="3049251" y="3340447"/>
            <a:ext cx="1645925" cy="801662"/>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0" name="Avrund ett hjørne i rektangel 139"/>
          <p:cNvSpPr/>
          <p:nvPr/>
        </p:nvSpPr>
        <p:spPr>
          <a:xfrm rot="20419441">
            <a:off x="3121377" y="3518810"/>
            <a:ext cx="382352"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41" name="Avrund ett hjørne i rektangel 140"/>
          <p:cNvSpPr/>
          <p:nvPr/>
        </p:nvSpPr>
        <p:spPr>
          <a:xfrm rot="17254660">
            <a:off x="3526031" y="3531437"/>
            <a:ext cx="33842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42" name="Avrund ett hjørne i rektangel 141"/>
          <p:cNvSpPr/>
          <p:nvPr/>
        </p:nvSpPr>
        <p:spPr>
          <a:xfrm rot="17798315">
            <a:off x="3906777" y="3526392"/>
            <a:ext cx="330799" cy="267216"/>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43" name="Avrund ett hjørne i rektangel 142"/>
          <p:cNvSpPr/>
          <p:nvPr/>
        </p:nvSpPr>
        <p:spPr>
          <a:xfrm rot="1037302">
            <a:off x="4318468" y="3523935"/>
            <a:ext cx="335341"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44" name="Rektangel 143"/>
          <p:cNvSpPr/>
          <p:nvPr/>
        </p:nvSpPr>
        <p:spPr>
          <a:xfrm>
            <a:off x="4853810" y="3344493"/>
            <a:ext cx="1653794" cy="789998"/>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6" name="Avrund ett hjørne i rektangel 145"/>
          <p:cNvSpPr/>
          <p:nvPr/>
        </p:nvSpPr>
        <p:spPr>
          <a:xfrm rot="2949085">
            <a:off x="4926018" y="3522968"/>
            <a:ext cx="403439"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49" name="Avrund ett hjørne i rektangel 148"/>
          <p:cNvSpPr/>
          <p:nvPr/>
        </p:nvSpPr>
        <p:spPr>
          <a:xfrm rot="6991846">
            <a:off x="5340955" y="3523291"/>
            <a:ext cx="333341" cy="267216"/>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52" name="Avrund ett hjørne i rektangel 151"/>
          <p:cNvSpPr/>
          <p:nvPr/>
        </p:nvSpPr>
        <p:spPr>
          <a:xfrm rot="19710630">
            <a:off x="5725982" y="3507441"/>
            <a:ext cx="353354"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53" name="Avrund ett hjørne i rektangel 152"/>
          <p:cNvSpPr/>
          <p:nvPr/>
        </p:nvSpPr>
        <p:spPr>
          <a:xfrm rot="8058443">
            <a:off x="6126532" y="3519848"/>
            <a:ext cx="331706"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55" name="Rektangel 154"/>
          <p:cNvSpPr/>
          <p:nvPr/>
        </p:nvSpPr>
        <p:spPr>
          <a:xfrm>
            <a:off x="6702219" y="3351333"/>
            <a:ext cx="1636378" cy="783158"/>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6" name="Avrund ett hjørne i rektangel 155"/>
          <p:cNvSpPr/>
          <p:nvPr/>
        </p:nvSpPr>
        <p:spPr>
          <a:xfrm rot="18697452">
            <a:off x="6782558" y="3512556"/>
            <a:ext cx="382352" cy="277718"/>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57" name="Avrund ett hjørne i rektangel 156"/>
          <p:cNvSpPr/>
          <p:nvPr/>
        </p:nvSpPr>
        <p:spPr>
          <a:xfrm rot="3079137">
            <a:off x="7192427" y="3525668"/>
            <a:ext cx="33842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59" name="Avrund ett hjørne i rektangel 158"/>
          <p:cNvSpPr/>
          <p:nvPr/>
        </p:nvSpPr>
        <p:spPr>
          <a:xfrm rot="15014179">
            <a:off x="7566430" y="3525927"/>
            <a:ext cx="33584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60" name="Avrund ett hjørne i rektangel 159"/>
          <p:cNvSpPr/>
          <p:nvPr/>
        </p:nvSpPr>
        <p:spPr>
          <a:xfrm rot="3712599">
            <a:off x="7974524" y="3525438"/>
            <a:ext cx="337111"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61" name="Rektangel 160"/>
          <p:cNvSpPr/>
          <p:nvPr/>
        </p:nvSpPr>
        <p:spPr>
          <a:xfrm>
            <a:off x="4929665" y="864354"/>
            <a:ext cx="2687085" cy="13036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Calibri" panose="020F0502020204030204"/>
                <a:ea typeface="+mn-ea"/>
                <a:cs typeface="+mn-cs"/>
              </a:rPr>
              <a:t>Datasamarbeid </a:t>
            </a: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Calibri" panose="020F0502020204030204"/>
                <a:ea typeface="+mn-ea"/>
                <a:cs typeface="+mn-cs"/>
              </a:rPr>
              <a:t>(deling)</a:t>
            </a:r>
            <a:endParaRPr kumimoji="0" lang="nb-NO" sz="74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2" name="Avrundet rektangel 161"/>
          <p:cNvSpPr/>
          <p:nvPr/>
        </p:nvSpPr>
        <p:spPr>
          <a:xfrm rot="10800000" flipV="1">
            <a:off x="3033473" y="3953605"/>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Skatt</a:t>
            </a:r>
          </a:p>
        </p:txBody>
      </p:sp>
      <p:sp>
        <p:nvSpPr>
          <p:cNvPr id="164" name="Avrundet rektangel 163"/>
          <p:cNvSpPr/>
          <p:nvPr/>
        </p:nvSpPr>
        <p:spPr>
          <a:xfrm rot="10800000" flipV="1">
            <a:off x="4854752" y="3960563"/>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Avgift</a:t>
            </a:r>
          </a:p>
        </p:txBody>
      </p:sp>
      <p:sp>
        <p:nvSpPr>
          <p:cNvPr id="165" name="Avrundet rektangel 164"/>
          <p:cNvSpPr/>
          <p:nvPr/>
        </p:nvSpPr>
        <p:spPr>
          <a:xfrm rot="10800000" flipV="1">
            <a:off x="6702219" y="3946650"/>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Innkreving</a:t>
            </a:r>
          </a:p>
        </p:txBody>
      </p:sp>
      <p:sp>
        <p:nvSpPr>
          <p:cNvPr id="167" name="Avrund ett hjørne i rektangel 166"/>
          <p:cNvSpPr/>
          <p:nvPr/>
        </p:nvSpPr>
        <p:spPr>
          <a:xfrm>
            <a:off x="2169474" y="1715036"/>
            <a:ext cx="421317"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cxnSp>
        <p:nvCxnSpPr>
          <p:cNvPr id="29" name="Rett pilkobling 28"/>
          <p:cNvCxnSpPr/>
          <p:nvPr/>
        </p:nvCxnSpPr>
        <p:spPr>
          <a:xfrm flipV="1">
            <a:off x="1508774" y="1978239"/>
            <a:ext cx="790463" cy="15367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 name="Rett linje 3"/>
          <p:cNvCxnSpPr/>
          <p:nvPr/>
        </p:nvCxnSpPr>
        <p:spPr>
          <a:xfrm>
            <a:off x="1719904" y="2636312"/>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Rett linje 36"/>
          <p:cNvCxnSpPr/>
          <p:nvPr/>
        </p:nvCxnSpPr>
        <p:spPr>
          <a:xfrm>
            <a:off x="1583681" y="2778383"/>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Avrund ett hjørne i rektangel 39"/>
          <p:cNvSpPr/>
          <p:nvPr/>
        </p:nvSpPr>
        <p:spPr>
          <a:xfrm>
            <a:off x="2836853" y="1715036"/>
            <a:ext cx="541576"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D2</a:t>
            </a:r>
          </a:p>
        </p:txBody>
      </p:sp>
      <p:cxnSp>
        <p:nvCxnSpPr>
          <p:cNvPr id="41" name="Rett pilkobling 40"/>
          <p:cNvCxnSpPr>
            <a:stCxn id="134" idx="0"/>
          </p:cNvCxnSpPr>
          <p:nvPr/>
        </p:nvCxnSpPr>
        <p:spPr>
          <a:xfrm flipV="1">
            <a:off x="2363342" y="1970229"/>
            <a:ext cx="646833" cy="15765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Rett pilkobling 41"/>
          <p:cNvCxnSpPr>
            <a:stCxn id="141" idx="3"/>
          </p:cNvCxnSpPr>
          <p:nvPr/>
        </p:nvCxnSpPr>
        <p:spPr>
          <a:xfrm flipH="1" flipV="1">
            <a:off x="3107645" y="1978240"/>
            <a:ext cx="638700" cy="15234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Rett linje 44"/>
          <p:cNvCxnSpPr/>
          <p:nvPr/>
        </p:nvCxnSpPr>
        <p:spPr>
          <a:xfrm>
            <a:off x="2420215" y="2678962"/>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Rett linje 46"/>
          <p:cNvCxnSpPr/>
          <p:nvPr/>
        </p:nvCxnSpPr>
        <p:spPr>
          <a:xfrm>
            <a:off x="2283992" y="2821033"/>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Rett linje 47"/>
          <p:cNvCxnSpPr/>
          <p:nvPr/>
        </p:nvCxnSpPr>
        <p:spPr>
          <a:xfrm>
            <a:off x="3222853" y="2859574"/>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Rett linje 48"/>
          <p:cNvCxnSpPr/>
          <p:nvPr/>
        </p:nvCxnSpPr>
        <p:spPr>
          <a:xfrm>
            <a:off x="3148328" y="2685942"/>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tt pilkobling 42"/>
          <p:cNvCxnSpPr>
            <a:stCxn id="146" idx="0"/>
          </p:cNvCxnSpPr>
          <p:nvPr/>
        </p:nvCxnSpPr>
        <p:spPr>
          <a:xfrm flipV="1">
            <a:off x="5227286" y="1990828"/>
            <a:ext cx="727842" cy="15776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Avrund ett hjørne i rektangel 43"/>
          <p:cNvSpPr/>
          <p:nvPr/>
        </p:nvSpPr>
        <p:spPr>
          <a:xfrm>
            <a:off x="5791448" y="1736434"/>
            <a:ext cx="382352"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cxnSp>
        <p:nvCxnSpPr>
          <p:cNvPr id="51" name="Rett pilkobling 50"/>
          <p:cNvCxnSpPr>
            <a:stCxn id="157" idx="1"/>
          </p:cNvCxnSpPr>
          <p:nvPr/>
        </p:nvCxnSpPr>
        <p:spPr>
          <a:xfrm flipH="1" flipV="1">
            <a:off x="6888382" y="1999639"/>
            <a:ext cx="367502" cy="15255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Avrund ett hjørne i rektangel 51"/>
          <p:cNvSpPr/>
          <p:nvPr/>
        </p:nvSpPr>
        <p:spPr>
          <a:xfrm>
            <a:off x="6735575" y="1691364"/>
            <a:ext cx="357516" cy="327679"/>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cxnSp>
        <p:nvCxnSpPr>
          <p:cNvPr id="53" name="Rett linje 52"/>
          <p:cNvCxnSpPr/>
          <p:nvPr/>
        </p:nvCxnSpPr>
        <p:spPr>
          <a:xfrm>
            <a:off x="5385961" y="2668232"/>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Rett linje 53"/>
          <p:cNvCxnSpPr/>
          <p:nvPr/>
        </p:nvCxnSpPr>
        <p:spPr>
          <a:xfrm>
            <a:off x="5249738" y="2810303"/>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Rett linje 54"/>
          <p:cNvCxnSpPr/>
          <p:nvPr/>
        </p:nvCxnSpPr>
        <p:spPr>
          <a:xfrm>
            <a:off x="6869169" y="2840324"/>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Rett linje 55"/>
          <p:cNvCxnSpPr/>
          <p:nvPr/>
        </p:nvCxnSpPr>
        <p:spPr>
          <a:xfrm>
            <a:off x="6794644" y="2666692"/>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Avrundet rektangel 49"/>
          <p:cNvSpPr/>
          <p:nvPr/>
        </p:nvSpPr>
        <p:spPr>
          <a:xfrm rot="10800000" flipV="1">
            <a:off x="1254943" y="3961223"/>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Opplysninger</a:t>
            </a:r>
          </a:p>
        </p:txBody>
      </p:sp>
    </p:spTree>
    <p:extLst>
      <p:ext uri="{BB962C8B-B14F-4D97-AF65-F5344CB8AC3E}">
        <p14:creationId xmlns:p14="http://schemas.microsoft.com/office/powerpoint/2010/main" val="847492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629D576-534A-4B91-87E3-1A0281A0494B}"/>
              </a:ext>
            </a:extLst>
          </p:cNvPr>
          <p:cNvSpPr>
            <a:spLocks noGrp="1"/>
          </p:cNvSpPr>
          <p:nvPr>
            <p:ph type="title"/>
          </p:nvPr>
        </p:nvSpPr>
        <p:spPr>
          <a:xfrm>
            <a:off x="887643" y="359368"/>
            <a:ext cx="8371046" cy="512448"/>
          </a:xfrm>
        </p:spPr>
        <p:txBody>
          <a:bodyPr/>
          <a:lstStyle/>
          <a:p>
            <a:r>
              <a:rPr lang="nb-NO"/>
              <a:t>Samfunnsoppdrag og hovedmålene</a:t>
            </a:r>
          </a:p>
        </p:txBody>
      </p:sp>
      <p:pic>
        <p:nvPicPr>
          <p:cNvPr id="12" name="Bilde 11">
            <a:extLst>
              <a:ext uri="{FF2B5EF4-FFF2-40B4-BE49-F238E27FC236}">
                <a16:creationId xmlns:a16="http://schemas.microsoft.com/office/drawing/2014/main" id="{7C9FFEEE-9ECA-41F1-9D9B-C5A3666AEA6B}"/>
              </a:ext>
            </a:extLst>
          </p:cNvPr>
          <p:cNvPicPr>
            <a:picLocks noChangeAspect="1"/>
          </p:cNvPicPr>
          <p:nvPr/>
        </p:nvPicPr>
        <p:blipFill>
          <a:blip r:embed="rId2"/>
          <a:stretch>
            <a:fillRect/>
          </a:stretch>
        </p:blipFill>
        <p:spPr>
          <a:xfrm>
            <a:off x="4572794" y="1559966"/>
            <a:ext cx="4025350" cy="2512388"/>
          </a:xfrm>
          <a:prstGeom prst="rect">
            <a:avLst/>
          </a:prstGeom>
        </p:spPr>
      </p:pic>
      <p:sp>
        <p:nvSpPr>
          <p:cNvPr id="13" name="Plassholder for innhold 2">
            <a:extLst>
              <a:ext uri="{FF2B5EF4-FFF2-40B4-BE49-F238E27FC236}">
                <a16:creationId xmlns:a16="http://schemas.microsoft.com/office/drawing/2014/main" id="{F67337D4-4E20-4732-BA94-BF9666B56D5C}"/>
              </a:ext>
            </a:extLst>
          </p:cNvPr>
          <p:cNvSpPr>
            <a:spLocks noGrp="1"/>
          </p:cNvSpPr>
          <p:nvPr>
            <p:ph idx="1"/>
          </p:nvPr>
        </p:nvSpPr>
        <p:spPr>
          <a:xfrm>
            <a:off x="169080" y="1299055"/>
            <a:ext cx="3887397" cy="3448452"/>
          </a:xfrm>
        </p:spPr>
        <p:txBody>
          <a:bodyPr>
            <a:normAutofit/>
          </a:bodyPr>
          <a:lstStyle/>
          <a:p>
            <a:r>
              <a:rPr lang="nb-NO" sz="900"/>
              <a:t>Samfunnsoppdraget og hovedmålene er nye siden 2018, og ventes å være gjeldende frem mot 2030.</a:t>
            </a:r>
          </a:p>
          <a:p>
            <a:pPr lvl="1"/>
            <a:r>
              <a:rPr lang="nb-NO" sz="900" b="0" i="0" u="none" strike="noStrike">
                <a:solidFill>
                  <a:srgbClr val="000000"/>
                </a:solidFill>
                <a:effectLst/>
                <a:latin typeface="Arial" panose="020B0604020202020204" pitchFamily="34" charset="0"/>
              </a:rPr>
              <a:t>H1: </a:t>
            </a:r>
            <a:r>
              <a:rPr lang="nb-NO" sz="900" b="1" i="0" u="none" strike="noStrike">
                <a:solidFill>
                  <a:srgbClr val="000000"/>
                </a:solidFill>
                <a:effectLst/>
                <a:latin typeface="Arial" panose="020B0604020202020204" pitchFamily="34" charset="0"/>
              </a:rPr>
              <a:t>Skatte- og opplysningspliktige </a:t>
            </a:r>
            <a:r>
              <a:rPr lang="nb-NO" sz="900" b="0" i="0" u="none" strike="noStrike">
                <a:solidFill>
                  <a:srgbClr val="000000"/>
                </a:solidFill>
                <a:effectLst/>
                <a:latin typeface="Arial" panose="020B0604020202020204" pitchFamily="34" charset="0"/>
              </a:rPr>
              <a:t>erfarer velfungerende ordninger som sikrer enkel og riktig registrering, rapportering og innbetaling. Skatteetaten skal likebehandle, og uriktige og manglende opplysninger avdekkes og korrigeres.</a:t>
            </a:r>
          </a:p>
          <a:p>
            <a:pPr lvl="1"/>
            <a:r>
              <a:rPr lang="nb-NO" sz="900"/>
              <a:t>H2: </a:t>
            </a:r>
            <a:r>
              <a:rPr lang="nb-NO" sz="900" b="0" i="0" u="none" strike="noStrike">
                <a:solidFill>
                  <a:srgbClr val="000000"/>
                </a:solidFill>
                <a:effectLst/>
                <a:latin typeface="Arial" panose="020B0604020202020204" pitchFamily="34" charset="0"/>
              </a:rPr>
              <a:t>Skatteetaten ivaretar </a:t>
            </a:r>
            <a:r>
              <a:rPr lang="nb-NO" sz="900" b="1" i="0" u="none" strike="noStrike">
                <a:solidFill>
                  <a:srgbClr val="000000"/>
                </a:solidFill>
                <a:effectLst/>
                <a:latin typeface="Arial" panose="020B0604020202020204" pitchFamily="34" charset="0"/>
              </a:rPr>
              <a:t>det offentlige og andre brukeres behov </a:t>
            </a:r>
            <a:r>
              <a:rPr lang="nb-NO" sz="900" b="0" i="0" u="none" strike="noStrike">
                <a:solidFill>
                  <a:srgbClr val="000000"/>
                </a:solidFill>
                <a:effectLst/>
                <a:latin typeface="Arial" panose="020B0604020202020204" pitchFamily="34" charset="0"/>
              </a:rPr>
              <a:t>for registerdata og informasjon som de kan legge til grunn i sitt arbeid. Skatteetaten har en effektiv og sikker innsamling, bearbeiding og tilgjengeliggjøring av informasjon nasjonalt og internasjonalt.</a:t>
            </a:r>
          </a:p>
          <a:p>
            <a:pPr lvl="1"/>
            <a:r>
              <a:rPr lang="nb-NO" sz="900">
                <a:solidFill>
                  <a:srgbClr val="000000"/>
                </a:solidFill>
                <a:latin typeface="Arial" panose="020B0604020202020204" pitchFamily="34" charset="0"/>
              </a:rPr>
              <a:t>H3: </a:t>
            </a:r>
            <a:r>
              <a:rPr lang="nb-NO" sz="900" b="0" i="0" u="none" strike="noStrike">
                <a:solidFill>
                  <a:srgbClr val="000000"/>
                </a:solidFill>
                <a:effectLst/>
                <a:latin typeface="Arial" panose="020B0604020202020204" pitchFamily="34" charset="0"/>
              </a:rPr>
              <a:t>Skatte- og opplysningspliktige opplever at Skatteetaten </a:t>
            </a:r>
            <a:r>
              <a:rPr lang="nb-NO" sz="900" b="1" i="0" u="none" strike="noStrike">
                <a:solidFill>
                  <a:srgbClr val="000000"/>
                </a:solidFill>
                <a:effectLst/>
                <a:latin typeface="Arial" panose="020B0604020202020204" pitchFamily="34" charset="0"/>
              </a:rPr>
              <a:t>forvalter regelverket slik at rettigheter og plikter ivaretas</a:t>
            </a:r>
            <a:r>
              <a:rPr lang="nb-NO" sz="900" b="0" i="0" u="none" strike="noStrike">
                <a:solidFill>
                  <a:srgbClr val="000000"/>
                </a:solidFill>
                <a:effectLst/>
                <a:latin typeface="Arial" panose="020B0604020202020204" pitchFamily="34" charset="0"/>
              </a:rPr>
              <a:t>. Skatte- og opplysningspliktige opplever profesjonell og effektiv saksbehandling, god informasjon og at informasjon forvaltes på en trygg måte.</a:t>
            </a:r>
            <a:endParaRPr lang="nb-NO" sz="900"/>
          </a:p>
          <a:p>
            <a:r>
              <a:rPr lang="nb-NO" sz="900"/>
              <a:t>Hovedmålene dreier styringen til Finansdepartementet av Skatteetaten mer mot fokus på effekter for samfunnet og brukerne. </a:t>
            </a:r>
          </a:p>
          <a:p>
            <a:r>
              <a:rPr lang="nb-NO" sz="900"/>
              <a:t>Finansdepartementets styring påvirker utviklingen av den interne styringen i Skatteetaten. Det jobbes med å utvikle gode effektindikatorer til hvert av hovedmålene som grunnlag for bedre rapportering til Finansdepartementet.</a:t>
            </a:r>
          </a:p>
          <a:p>
            <a:r>
              <a:rPr lang="nb-NO" sz="900"/>
              <a:t>I stort har vi rapportert gode resultater til hver enkelt hovedmål siden 2018.</a:t>
            </a:r>
          </a:p>
        </p:txBody>
      </p:sp>
    </p:spTree>
    <p:extLst>
      <p:ext uri="{BB962C8B-B14F-4D97-AF65-F5344CB8AC3E}">
        <p14:creationId xmlns:p14="http://schemas.microsoft.com/office/powerpoint/2010/main" val="364725124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344306" y="748145"/>
            <a:ext cx="8574612" cy="3366655"/>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tel 1"/>
          <p:cNvSpPr>
            <a:spLocks noGrp="1"/>
          </p:cNvSpPr>
          <p:nvPr>
            <p:ph type="title"/>
          </p:nvPr>
        </p:nvSpPr>
        <p:spPr>
          <a:xfrm>
            <a:off x="288036" y="268201"/>
            <a:ext cx="7339136" cy="346249"/>
          </a:xfrm>
        </p:spPr>
        <p:txBody>
          <a:bodyPr>
            <a:normAutofit/>
          </a:bodyPr>
          <a:lstStyle/>
          <a:p>
            <a:r>
              <a:rPr lang="nb-NO" dirty="0" smtClean="0"/>
              <a:t>Helhetlig informasjonsforvaltning</a:t>
            </a:r>
            <a:endParaRPr lang="nb-NO" dirty="0"/>
          </a:p>
        </p:txBody>
      </p:sp>
      <p:sp>
        <p:nvSpPr>
          <p:cNvPr id="3" name="Plassholder for innhold 2"/>
          <p:cNvSpPr>
            <a:spLocks noGrp="1"/>
          </p:cNvSpPr>
          <p:nvPr>
            <p:ph idx="1"/>
          </p:nvPr>
        </p:nvSpPr>
        <p:spPr>
          <a:xfrm>
            <a:off x="1643002" y="927849"/>
            <a:ext cx="7020878" cy="3034262"/>
          </a:xfrm>
        </p:spPr>
        <p:txBody>
          <a:bodyPr>
            <a:normAutofit fontScale="85000" lnSpcReduction="10000"/>
          </a:bodyPr>
          <a:lstStyle/>
          <a:p>
            <a:r>
              <a:rPr lang="nb-NO" dirty="0"/>
              <a:t>Informasjon må forvaltes som en egen viktig </a:t>
            </a:r>
            <a:r>
              <a:rPr lang="nb-NO" b="1" dirty="0" smtClean="0"/>
              <a:t>felles</a:t>
            </a:r>
            <a:r>
              <a:rPr lang="nb-NO" dirty="0" smtClean="0"/>
              <a:t> </a:t>
            </a:r>
            <a:r>
              <a:rPr lang="nb-NO" b="1" dirty="0" smtClean="0"/>
              <a:t>ressurs – for flerbruk</a:t>
            </a:r>
            <a:endParaRPr lang="nb-NO" dirty="0"/>
          </a:p>
          <a:p>
            <a:pPr lvl="1"/>
            <a:r>
              <a:rPr lang="nb-NO" dirty="0"/>
              <a:t>Informasjon som beskriver </a:t>
            </a:r>
            <a:r>
              <a:rPr lang="nb-NO" b="1" dirty="0"/>
              <a:t>brukerens </a:t>
            </a:r>
            <a:r>
              <a:rPr lang="nb-NO" b="1" dirty="0" smtClean="0"/>
              <a:t>virkelighet</a:t>
            </a:r>
          </a:p>
          <a:p>
            <a:pPr lvl="1"/>
            <a:r>
              <a:rPr lang="nb-NO" dirty="0" smtClean="0"/>
              <a:t>Finnes </a:t>
            </a:r>
            <a:r>
              <a:rPr lang="nb-NO" b="1" dirty="0"/>
              <a:t>digitalt </a:t>
            </a:r>
            <a:r>
              <a:rPr lang="nb-NO" dirty="0"/>
              <a:t>i brukerens prosesser</a:t>
            </a:r>
          </a:p>
          <a:p>
            <a:pPr lvl="1"/>
            <a:r>
              <a:rPr lang="nb-NO" dirty="0"/>
              <a:t>Er oppdatert og </a:t>
            </a:r>
            <a:r>
              <a:rPr lang="nb-NO" b="1" dirty="0"/>
              <a:t>tett på </a:t>
            </a:r>
            <a:r>
              <a:rPr lang="nb-NO" b="1" dirty="0" smtClean="0"/>
              <a:t>brukerens hendelser</a:t>
            </a:r>
            <a:endParaRPr lang="nb-NO" b="1" dirty="0"/>
          </a:p>
          <a:p>
            <a:pPr marL="340547" lvl="1" indent="0">
              <a:buNone/>
            </a:pPr>
            <a:endParaRPr lang="nb-NO" dirty="0" smtClean="0"/>
          </a:p>
          <a:p>
            <a:r>
              <a:rPr lang="nb-NO" dirty="0" smtClean="0"/>
              <a:t>Krever en </a:t>
            </a:r>
            <a:r>
              <a:rPr lang="nb-NO" b="1" dirty="0" smtClean="0"/>
              <a:t>nasjonal tilnærming </a:t>
            </a:r>
            <a:r>
              <a:rPr lang="nb-NO" dirty="0" smtClean="0"/>
              <a:t>til hvilken informasjon vi skal ha kilder for </a:t>
            </a:r>
          </a:p>
          <a:p>
            <a:pPr lvl="1"/>
            <a:r>
              <a:rPr lang="nb-NO" dirty="0"/>
              <a:t>H</a:t>
            </a:r>
            <a:r>
              <a:rPr lang="nb-NO" dirty="0" smtClean="0"/>
              <a:t>vem skal hente inn informasjonen "kun en gang"?</a:t>
            </a:r>
          </a:p>
          <a:p>
            <a:pPr lvl="1"/>
            <a:r>
              <a:rPr lang="nb-NO" dirty="0" smtClean="0"/>
              <a:t>Tydelige roller og ansvar for informasjon</a:t>
            </a:r>
          </a:p>
          <a:p>
            <a:endParaRPr lang="nb-NO" dirty="0" smtClean="0"/>
          </a:p>
          <a:p>
            <a:r>
              <a:rPr lang="nb-NO" dirty="0" smtClean="0"/>
              <a:t>Krever en </a:t>
            </a:r>
            <a:r>
              <a:rPr lang="nb-NO" b="1" dirty="0" smtClean="0"/>
              <a:t>lokal tilnærming – orden i eget hus</a:t>
            </a:r>
          </a:p>
          <a:p>
            <a:pPr lvl="1"/>
            <a:r>
              <a:rPr lang="nb-NO" dirty="0" smtClean="0"/>
              <a:t>Informasjon som er godt </a:t>
            </a:r>
            <a:r>
              <a:rPr lang="nb-NO" dirty="0"/>
              <a:t>dokumentert og riktig forstått av alle </a:t>
            </a:r>
            <a:r>
              <a:rPr lang="nb-NO" dirty="0" smtClean="0"/>
              <a:t>brukere</a:t>
            </a:r>
          </a:p>
          <a:p>
            <a:pPr lvl="1"/>
            <a:r>
              <a:rPr lang="nb-NO" dirty="0" smtClean="0"/>
              <a:t>Standarder og datakataloger</a:t>
            </a:r>
          </a:p>
          <a:p>
            <a:pPr lvl="1"/>
            <a:r>
              <a:rPr lang="nb-NO" dirty="0" smtClean="0"/>
              <a:t>Inntekt </a:t>
            </a:r>
            <a:r>
              <a:rPr lang="nb-NO" dirty="0"/>
              <a:t>er ikke inntekt – samboer er ikke samboer</a:t>
            </a:r>
          </a:p>
          <a:p>
            <a:endParaRPr lang="nb-NO" dirty="0" smtClean="0"/>
          </a:p>
          <a:p>
            <a:endParaRPr lang="nb-NO" dirty="0" smtClean="0"/>
          </a:p>
          <a:p>
            <a:endParaRPr lang="nb-NO" dirty="0" smtClean="0"/>
          </a:p>
        </p:txBody>
      </p:sp>
      <p:pic>
        <p:nvPicPr>
          <p:cNvPr id="5" name="Bild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041" y="1751970"/>
            <a:ext cx="611926" cy="611926"/>
          </a:xfrm>
          <a:prstGeom prst="rect">
            <a:avLst/>
          </a:prstGeom>
          <a:ln>
            <a:solidFill>
              <a:schemeClr val="accent1">
                <a:shade val="50000"/>
              </a:schemeClr>
            </a:solidFill>
          </a:ln>
        </p:spPr>
      </p:pic>
      <p:pic>
        <p:nvPicPr>
          <p:cNvPr id="7" name="Bild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6041" y="927849"/>
            <a:ext cx="611925" cy="611925"/>
          </a:xfrm>
          <a:prstGeom prst="rect">
            <a:avLst/>
          </a:prstGeom>
          <a:ln>
            <a:solidFill>
              <a:schemeClr val="accent1">
                <a:shade val="50000"/>
              </a:schemeClr>
            </a:solidFill>
          </a:ln>
        </p:spPr>
      </p:pic>
      <p:pic>
        <p:nvPicPr>
          <p:cNvPr id="8" name="Bilde 7">
            <a:extLst>
              <a:ext uri="{FF2B5EF4-FFF2-40B4-BE49-F238E27FC236}">
                <a16:creationId xmlns:a16="http://schemas.microsoft.com/office/drawing/2014/main" id="{CCBFFBA6-ED3F-044E-9B53-07F6185DFFFB}"/>
              </a:ext>
            </a:extLst>
          </p:cNvPr>
          <p:cNvPicPr>
            <a:picLocks noChangeAspect="1"/>
          </p:cNvPicPr>
          <p:nvPr/>
        </p:nvPicPr>
        <p:blipFill>
          <a:blip r:embed="rId5"/>
          <a:stretch>
            <a:fillRect/>
          </a:stretch>
        </p:blipFill>
        <p:spPr>
          <a:xfrm>
            <a:off x="776041" y="2576092"/>
            <a:ext cx="611926" cy="611926"/>
          </a:xfrm>
          <a:prstGeom prst="rect">
            <a:avLst/>
          </a:prstGeom>
          <a:ln>
            <a:solidFill>
              <a:schemeClr val="accent1">
                <a:shade val="50000"/>
              </a:schemeClr>
            </a:solidFill>
          </a:ln>
        </p:spPr>
      </p:pic>
      <p:grpSp>
        <p:nvGrpSpPr>
          <p:cNvPr id="9" name="Gruppe 8">
            <a:extLst>
              <a:ext uri="{FF2B5EF4-FFF2-40B4-BE49-F238E27FC236}">
                <a16:creationId xmlns:a16="http://schemas.microsoft.com/office/drawing/2014/main" id="{9F983455-E9A0-9D40-A172-392DE7086347}"/>
              </a:ext>
            </a:extLst>
          </p:cNvPr>
          <p:cNvGrpSpPr/>
          <p:nvPr/>
        </p:nvGrpSpPr>
        <p:grpSpPr>
          <a:xfrm>
            <a:off x="776041" y="3400214"/>
            <a:ext cx="611926" cy="534477"/>
            <a:chOff x="1173402" y="3446023"/>
            <a:chExt cx="750583" cy="750583"/>
          </a:xfrm>
        </p:grpSpPr>
        <p:pic>
          <p:nvPicPr>
            <p:cNvPr id="10" name="Bilde 9">
              <a:extLst>
                <a:ext uri="{FF2B5EF4-FFF2-40B4-BE49-F238E27FC236}">
                  <a16:creationId xmlns:a16="http://schemas.microsoft.com/office/drawing/2014/main" id="{F80119B1-130D-1349-9BF6-79C96CDEC8BB}"/>
                </a:ext>
              </a:extLst>
            </p:cNvPr>
            <p:cNvPicPr>
              <a:picLocks noChangeAspect="1"/>
            </p:cNvPicPr>
            <p:nvPr/>
          </p:nvPicPr>
          <p:blipFill>
            <a:blip r:embed="rId6"/>
            <a:stretch>
              <a:fillRect/>
            </a:stretch>
          </p:blipFill>
          <p:spPr>
            <a:xfrm>
              <a:off x="1173402" y="3446023"/>
              <a:ext cx="750583" cy="750583"/>
            </a:xfrm>
            <a:prstGeom prst="rect">
              <a:avLst/>
            </a:prstGeom>
            <a:ln>
              <a:solidFill>
                <a:schemeClr val="accent1">
                  <a:shade val="50000"/>
                </a:schemeClr>
              </a:solidFill>
            </a:ln>
          </p:spPr>
        </p:pic>
        <p:pic>
          <p:nvPicPr>
            <p:cNvPr id="11" name="Picture 4">
              <a:extLst>
                <a:ext uri="{FF2B5EF4-FFF2-40B4-BE49-F238E27FC236}">
                  <a16:creationId xmlns:a16="http://schemas.microsoft.com/office/drawing/2014/main" id="{82E98D33-2FFA-DC42-9602-953B71B380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56675" y="3545189"/>
              <a:ext cx="449460" cy="447057"/>
            </a:xfrm>
            <a:prstGeom prst="rect">
              <a:avLst/>
            </a:prstGeom>
            <a:noFill/>
            <a:ln>
              <a:solidFill>
                <a:schemeClr val="accent1">
                  <a:shade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1883217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126236" y="319228"/>
            <a:ext cx="8371046" cy="512448"/>
          </a:xfrm>
        </p:spPr>
        <p:txBody>
          <a:bodyPr/>
          <a:lstStyle/>
          <a:p>
            <a:r>
              <a:rPr lang="nb-NO" dirty="0" smtClean="0"/>
              <a:t>		Samhandlingsevne</a:t>
            </a:r>
            <a:endParaRPr lang="nb-NO" dirty="0"/>
          </a:p>
        </p:txBody>
      </p:sp>
      <p:pic>
        <p:nvPicPr>
          <p:cNvPr id="4" name="Bilde 3"/>
          <p:cNvPicPr>
            <a:picLocks noChangeAspect="1"/>
          </p:cNvPicPr>
          <p:nvPr/>
        </p:nvPicPr>
        <p:blipFill>
          <a:blip r:embed="rId2"/>
          <a:stretch>
            <a:fillRect/>
          </a:stretch>
        </p:blipFill>
        <p:spPr>
          <a:xfrm>
            <a:off x="1024540" y="922516"/>
            <a:ext cx="7634542" cy="4164295"/>
          </a:xfrm>
          <a:prstGeom prst="rect">
            <a:avLst/>
          </a:prstGeom>
        </p:spPr>
      </p:pic>
    </p:spTree>
    <p:extLst>
      <p:ext uri="{BB962C8B-B14F-4D97-AF65-F5344CB8AC3E}">
        <p14:creationId xmlns:p14="http://schemas.microsoft.com/office/powerpoint/2010/main" val="52288709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p:cNvPicPr>
            <a:picLocks noChangeAspect="1"/>
          </p:cNvPicPr>
          <p:nvPr/>
        </p:nvPicPr>
        <p:blipFill>
          <a:blip r:embed="rId2"/>
          <a:stretch>
            <a:fillRect/>
          </a:stretch>
        </p:blipFill>
        <p:spPr>
          <a:xfrm>
            <a:off x="259200" y="222139"/>
            <a:ext cx="6515294" cy="4691063"/>
          </a:xfrm>
          <a:prstGeom prst="rect">
            <a:avLst/>
          </a:prstGeom>
        </p:spPr>
      </p:pic>
      <p:sp>
        <p:nvSpPr>
          <p:cNvPr id="6" name="Rektangel 5"/>
          <p:cNvSpPr/>
          <p:nvPr/>
        </p:nvSpPr>
        <p:spPr>
          <a:xfrm>
            <a:off x="6840000" y="1908000"/>
            <a:ext cx="237600" cy="16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ekstSylinder 6"/>
          <p:cNvSpPr txBox="1"/>
          <p:nvPr/>
        </p:nvSpPr>
        <p:spPr>
          <a:xfrm>
            <a:off x="6710047" y="1797271"/>
            <a:ext cx="2612090" cy="2308324"/>
          </a:xfrm>
          <a:prstGeom prst="rect">
            <a:avLst/>
          </a:prstGeom>
          <a:noFill/>
        </p:spPr>
        <p:txBody>
          <a:bodyPr wrap="square" rtlCol="0">
            <a:spAutoFit/>
          </a:bodyPr>
          <a:lstStyle/>
          <a:p>
            <a:pPr algn="ctr"/>
            <a:r>
              <a:rPr lang="nb-NO" sz="2400" b="1" dirty="0" smtClean="0"/>
              <a:t>Hvem styrer? </a:t>
            </a:r>
          </a:p>
          <a:p>
            <a:pPr algn="ctr"/>
            <a:endParaRPr lang="nb-NO" sz="2400" b="1" dirty="0" smtClean="0"/>
          </a:p>
          <a:p>
            <a:pPr algn="ctr"/>
            <a:r>
              <a:rPr lang="nb-NO" sz="2400" b="1" dirty="0" smtClean="0"/>
              <a:t>Nasjonal </a:t>
            </a:r>
            <a:r>
              <a:rPr lang="nb-NO" sz="2400" b="1" dirty="0" err="1" smtClean="0"/>
              <a:t>governance</a:t>
            </a:r>
            <a:r>
              <a:rPr lang="nb-NO" sz="2400" b="1" dirty="0" smtClean="0"/>
              <a:t>!</a:t>
            </a:r>
          </a:p>
          <a:p>
            <a:pPr algn="ctr"/>
            <a:r>
              <a:rPr lang="nb-NO" sz="2400" b="1" dirty="0" smtClean="0"/>
              <a:t> </a:t>
            </a:r>
          </a:p>
          <a:p>
            <a:pPr algn="ctr"/>
            <a:r>
              <a:rPr lang="nb-NO" sz="2400" b="1" dirty="0" err="1" smtClean="0"/>
              <a:t>Digdir</a:t>
            </a:r>
            <a:r>
              <a:rPr lang="nb-NO" sz="2400" b="1" dirty="0" smtClean="0"/>
              <a:t>?</a:t>
            </a:r>
            <a:r>
              <a:rPr lang="nb-NO" sz="1800" b="1" dirty="0" smtClean="0"/>
              <a:t> </a:t>
            </a:r>
            <a:endParaRPr lang="nb-NO" b="1" dirty="0"/>
          </a:p>
        </p:txBody>
      </p:sp>
      <p:sp>
        <p:nvSpPr>
          <p:cNvPr id="8" name="Rektangel 7"/>
          <p:cNvSpPr/>
          <p:nvPr/>
        </p:nvSpPr>
        <p:spPr>
          <a:xfrm flipV="1">
            <a:off x="6515647" y="2008800"/>
            <a:ext cx="1944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p:cNvSpPr/>
          <p:nvPr/>
        </p:nvSpPr>
        <p:spPr>
          <a:xfrm>
            <a:off x="6350047" y="4725999"/>
            <a:ext cx="194400" cy="187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171126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dato 2"/>
          <p:cNvSpPr>
            <a:spLocks noGrp="1"/>
          </p:cNvSpPr>
          <p:nvPr>
            <p:ph type="dt" sz="half" idx="10"/>
          </p:nvPr>
        </p:nvSpPr>
        <p:spPr/>
        <p:txBody>
          <a:bodyPr/>
          <a:lstStyle/>
          <a:p>
            <a:fld id="{1A1F10B7-A01E-430E-A625-DB4259FCF2CA}" type="datetime4">
              <a:rPr lang="nb-NO" smtClean="0">
                <a:solidFill>
                  <a:prstClr val="black"/>
                </a:solidFill>
              </a:rPr>
              <a:pPr/>
              <a:t>13. oktober 2021</a:t>
            </a:fld>
            <a:endParaRPr lang="nb-NO">
              <a:solidFill>
                <a:prstClr val="black"/>
              </a:solidFill>
            </a:endParaRPr>
          </a:p>
        </p:txBody>
      </p:sp>
      <p:pic>
        <p:nvPicPr>
          <p:cNvPr id="5" name="Bilde 4"/>
          <p:cNvPicPr>
            <a:picLocks noChangeAspect="1"/>
          </p:cNvPicPr>
          <p:nvPr/>
        </p:nvPicPr>
        <p:blipFill>
          <a:blip r:embed="rId2"/>
          <a:stretch>
            <a:fillRect/>
          </a:stretch>
        </p:blipFill>
        <p:spPr>
          <a:xfrm>
            <a:off x="978681" y="1621869"/>
            <a:ext cx="6185320" cy="3486705"/>
          </a:xfrm>
          <a:prstGeom prst="rect">
            <a:avLst/>
          </a:prstGeom>
        </p:spPr>
      </p:pic>
      <p:sp>
        <p:nvSpPr>
          <p:cNvPr id="2" name="Plassholder for innhold 1"/>
          <p:cNvSpPr>
            <a:spLocks noGrp="1"/>
          </p:cNvSpPr>
          <p:nvPr>
            <p:ph sz="half" idx="2"/>
          </p:nvPr>
        </p:nvSpPr>
        <p:spPr>
          <a:xfrm>
            <a:off x="1230471" y="402301"/>
            <a:ext cx="7087338" cy="968399"/>
          </a:xfrm>
        </p:spPr>
        <p:txBody>
          <a:bodyPr>
            <a:normAutofit fontScale="40000" lnSpcReduction="20000"/>
          </a:bodyPr>
          <a:lstStyle/>
          <a:p>
            <a:pPr marL="0" indent="0">
              <a:buNone/>
            </a:pPr>
            <a:endParaRPr lang="nb-NO" sz="4800" dirty="0" smtClean="0"/>
          </a:p>
          <a:p>
            <a:pPr marL="0" indent="0">
              <a:buNone/>
            </a:pPr>
            <a:r>
              <a:rPr lang="nb-NO" sz="12000" dirty="0" smtClean="0"/>
              <a:t>Pause</a:t>
            </a:r>
            <a:r>
              <a:rPr lang="nb-NO" sz="8000" dirty="0" smtClean="0"/>
              <a:t> </a:t>
            </a:r>
            <a:r>
              <a:rPr lang="nb-NO" sz="4800" dirty="0" smtClean="0"/>
              <a:t>     (med MVA-satser)</a:t>
            </a:r>
            <a:endParaRPr lang="nb-NO" sz="4800" dirty="0"/>
          </a:p>
        </p:txBody>
      </p:sp>
    </p:spTree>
    <p:extLst>
      <p:ext uri="{BB962C8B-B14F-4D97-AF65-F5344CB8AC3E}">
        <p14:creationId xmlns:p14="http://schemas.microsoft.com/office/powerpoint/2010/main" val="128830530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a:extLst>
              <a:ext uri="{FF2B5EF4-FFF2-40B4-BE49-F238E27FC236}">
                <a16:creationId xmlns:a16="http://schemas.microsoft.com/office/drawing/2014/main" id="{19748989-8E48-4074-A23A-D2989B634023}"/>
              </a:ext>
            </a:extLst>
          </p:cNvPr>
          <p:cNvGraphicFramePr>
            <a:graphicFrameLocks noChangeAspect="1"/>
          </p:cNvGraphicFramePr>
          <p:nvPr>
            <p:custDataLst>
              <p:tags r:id="rId2"/>
            </p:custDataLst>
          </p:nvPr>
        </p:nvGraphicFramePr>
        <p:xfrm>
          <a:off x="33416" y="19361"/>
          <a:ext cx="1577" cy="1577"/>
        </p:xfrm>
        <a:graphic>
          <a:graphicData uri="http://schemas.openxmlformats.org/presentationml/2006/ole">
            <mc:AlternateContent xmlns:mc="http://schemas.openxmlformats.org/markup-compatibility/2006">
              <mc:Choice xmlns:v="urn:schemas-microsoft-com:vml" Requires="v">
                <p:oleObj spid="_x0000_s85064" name="think-cell Slide" r:id="rId5" imgW="349" imgH="349" progId="TCLayout.ActiveDocument.1">
                  <p:embed/>
                </p:oleObj>
              </mc:Choice>
              <mc:Fallback>
                <p:oleObj name="think-cell Slide" r:id="rId5" imgW="349" imgH="349" progId="TCLayout.ActiveDocument.1">
                  <p:embed/>
                  <p:pic>
                    <p:nvPicPr>
                      <p:cNvPr id="75" name="Object 74" hidden="1">
                        <a:extLst>
                          <a:ext uri="{FF2B5EF4-FFF2-40B4-BE49-F238E27FC236}">
                            <a16:creationId xmlns:a16="http://schemas.microsoft.com/office/drawing/2014/main" id="{19748989-8E48-4074-A23A-D2989B634023}"/>
                          </a:ext>
                        </a:extLst>
                      </p:cNvPr>
                      <p:cNvPicPr/>
                      <p:nvPr/>
                    </p:nvPicPr>
                    <p:blipFill>
                      <a:blip r:embed="rId6"/>
                      <a:stretch>
                        <a:fillRect/>
                      </a:stretch>
                    </p:blipFill>
                    <p:spPr>
                      <a:xfrm>
                        <a:off x="33416" y="19361"/>
                        <a:ext cx="1577" cy="157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67EA9A-ED80-41B4-B7E9-5DA5106DC0C7}"/>
              </a:ext>
            </a:extLst>
          </p:cNvPr>
          <p:cNvSpPr>
            <a:spLocks noGrp="1"/>
          </p:cNvSpPr>
          <p:nvPr>
            <p:ph type="title"/>
          </p:nvPr>
        </p:nvSpPr>
        <p:spPr>
          <a:xfrm>
            <a:off x="994112" y="375208"/>
            <a:ext cx="7331128" cy="595593"/>
          </a:xfrm>
        </p:spPr>
        <p:txBody>
          <a:bodyPr vert="horz">
            <a:noAutofit/>
          </a:bodyPr>
          <a:lstStyle/>
          <a:p>
            <a:r>
              <a:rPr lang="nb-NO" sz="1800" dirty="0" smtClean="0"/>
              <a:t>Skatteetatens </a:t>
            </a:r>
            <a:r>
              <a:rPr lang="nb-NO" sz="1800" dirty="0"/>
              <a:t>forretningsmål </a:t>
            </a:r>
            <a:r>
              <a:rPr lang="nb-NO" sz="1800" i="1" dirty="0"/>
              <a:t>krever</a:t>
            </a:r>
            <a:r>
              <a:rPr lang="nb-NO" sz="1800" dirty="0"/>
              <a:t> god forvaltning av informasjon</a:t>
            </a:r>
          </a:p>
        </p:txBody>
      </p:sp>
      <p:grpSp>
        <p:nvGrpSpPr>
          <p:cNvPr id="5" name="Group 525"/>
          <p:cNvGrpSpPr/>
          <p:nvPr/>
        </p:nvGrpSpPr>
        <p:grpSpPr>
          <a:xfrm>
            <a:off x="1066112" y="2923301"/>
            <a:ext cx="470606" cy="470610"/>
            <a:chOff x="7098164" y="3360405"/>
            <a:chExt cx="202814" cy="202816"/>
          </a:xfrm>
          <a:solidFill>
            <a:schemeClr val="accent1"/>
          </a:solidFill>
        </p:grpSpPr>
        <p:sp>
          <p:nvSpPr>
            <p:cNvPr id="6" name="Freeform 131"/>
            <p:cNvSpPr>
              <a:spLocks noEditPoints="1"/>
            </p:cNvSpPr>
            <p:nvPr/>
          </p:nvSpPr>
          <p:spPr bwMode="auto">
            <a:xfrm>
              <a:off x="7098164" y="3360405"/>
              <a:ext cx="202814" cy="202816"/>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9 w 61"/>
                <a:gd name="T11" fmla="*/ 59 h 61"/>
                <a:gd name="T12" fmla="*/ 3 w 61"/>
                <a:gd name="T13" fmla="*/ 59 h 61"/>
                <a:gd name="T14" fmla="*/ 3 w 61"/>
                <a:gd name="T15" fmla="*/ 2 h 61"/>
                <a:gd name="T16" fmla="*/ 59 w 61"/>
                <a:gd name="T17" fmla="*/ 2 h 61"/>
                <a:gd name="T18" fmla="*/ 59 w 61"/>
                <a:gd name="T1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9" y="59"/>
                  </a:moveTo>
                  <a:lnTo>
                    <a:pt x="3" y="59"/>
                  </a:lnTo>
                  <a:lnTo>
                    <a:pt x="3" y="2"/>
                  </a:lnTo>
                  <a:lnTo>
                    <a:pt x="59" y="2"/>
                  </a:lnTo>
                  <a:lnTo>
                    <a:pt x="59"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7" name="Freeform 132"/>
            <p:cNvSpPr>
              <a:spLocks noEditPoints="1"/>
            </p:cNvSpPr>
            <p:nvPr/>
          </p:nvSpPr>
          <p:spPr bwMode="auto">
            <a:xfrm>
              <a:off x="7118113" y="3383680"/>
              <a:ext cx="162916" cy="159592"/>
            </a:xfrm>
            <a:custGeom>
              <a:avLst/>
              <a:gdLst>
                <a:gd name="T0" fmla="*/ 13 w 153"/>
                <a:gd name="T1" fmla="*/ 56 h 149"/>
                <a:gd name="T2" fmla="*/ 22 w 153"/>
                <a:gd name="T3" fmla="*/ 52 h 149"/>
                <a:gd name="T4" fmla="*/ 49 w 153"/>
                <a:gd name="T5" fmla="*/ 64 h 149"/>
                <a:gd name="T6" fmla="*/ 48 w 153"/>
                <a:gd name="T7" fmla="*/ 71 h 149"/>
                <a:gd name="T8" fmla="*/ 52 w 153"/>
                <a:gd name="T9" fmla="*/ 84 h 149"/>
                <a:gd name="T10" fmla="*/ 34 w 153"/>
                <a:gd name="T11" fmla="*/ 98 h 149"/>
                <a:gd name="T12" fmla="*/ 27 w 153"/>
                <a:gd name="T13" fmla="*/ 96 h 149"/>
                <a:gd name="T14" fmla="*/ 14 w 153"/>
                <a:gd name="T15" fmla="*/ 109 h 149"/>
                <a:gd name="T16" fmla="*/ 27 w 153"/>
                <a:gd name="T17" fmla="*/ 122 h 149"/>
                <a:gd name="T18" fmla="*/ 40 w 153"/>
                <a:gd name="T19" fmla="*/ 109 h 149"/>
                <a:gd name="T20" fmla="*/ 39 w 153"/>
                <a:gd name="T21" fmla="*/ 105 h 149"/>
                <a:gd name="T22" fmla="*/ 58 w 153"/>
                <a:gd name="T23" fmla="*/ 90 h 149"/>
                <a:gd name="T24" fmla="*/ 73 w 153"/>
                <a:gd name="T25" fmla="*/ 96 h 149"/>
                <a:gd name="T26" fmla="*/ 79 w 153"/>
                <a:gd name="T27" fmla="*/ 95 h 149"/>
                <a:gd name="T28" fmla="*/ 96 w 153"/>
                <a:gd name="T29" fmla="*/ 128 h 149"/>
                <a:gd name="T30" fmla="*/ 93 w 153"/>
                <a:gd name="T31" fmla="*/ 137 h 149"/>
                <a:gd name="T32" fmla="*/ 106 w 153"/>
                <a:gd name="T33" fmla="*/ 149 h 149"/>
                <a:gd name="T34" fmla="*/ 119 w 153"/>
                <a:gd name="T35" fmla="*/ 137 h 149"/>
                <a:gd name="T36" fmla="*/ 106 w 153"/>
                <a:gd name="T37" fmla="*/ 124 h 149"/>
                <a:gd name="T38" fmla="*/ 104 w 153"/>
                <a:gd name="T39" fmla="*/ 124 h 149"/>
                <a:gd name="T40" fmla="*/ 87 w 153"/>
                <a:gd name="T41" fmla="*/ 91 h 149"/>
                <a:gd name="T42" fmla="*/ 98 w 153"/>
                <a:gd name="T43" fmla="*/ 71 h 149"/>
                <a:gd name="T44" fmla="*/ 98 w 153"/>
                <a:gd name="T45" fmla="*/ 70 h 149"/>
                <a:gd name="T46" fmla="*/ 129 w 153"/>
                <a:gd name="T47" fmla="*/ 64 h 149"/>
                <a:gd name="T48" fmla="*/ 140 w 153"/>
                <a:gd name="T49" fmla="*/ 70 h 149"/>
                <a:gd name="T50" fmla="*/ 153 w 153"/>
                <a:gd name="T51" fmla="*/ 57 h 149"/>
                <a:gd name="T52" fmla="*/ 140 w 153"/>
                <a:gd name="T53" fmla="*/ 44 h 149"/>
                <a:gd name="T54" fmla="*/ 128 w 153"/>
                <a:gd name="T55" fmla="*/ 55 h 149"/>
                <a:gd name="T56" fmla="*/ 96 w 153"/>
                <a:gd name="T57" fmla="*/ 62 h 149"/>
                <a:gd name="T58" fmla="*/ 77 w 153"/>
                <a:gd name="T59" fmla="*/ 46 h 149"/>
                <a:gd name="T60" fmla="*/ 77 w 153"/>
                <a:gd name="T61" fmla="*/ 25 h 149"/>
                <a:gd name="T62" fmla="*/ 86 w 153"/>
                <a:gd name="T63" fmla="*/ 13 h 149"/>
                <a:gd name="T64" fmla="*/ 73 w 153"/>
                <a:gd name="T65" fmla="*/ 0 h 149"/>
                <a:gd name="T66" fmla="*/ 60 w 153"/>
                <a:gd name="T67" fmla="*/ 13 h 149"/>
                <a:gd name="T68" fmla="*/ 69 w 153"/>
                <a:gd name="T69" fmla="*/ 25 h 149"/>
                <a:gd name="T70" fmla="*/ 69 w 153"/>
                <a:gd name="T71" fmla="*/ 46 h 149"/>
                <a:gd name="T72" fmla="*/ 53 w 153"/>
                <a:gd name="T73" fmla="*/ 56 h 149"/>
                <a:gd name="T74" fmla="*/ 25 w 153"/>
                <a:gd name="T75" fmla="*/ 44 h 149"/>
                <a:gd name="T76" fmla="*/ 25 w 153"/>
                <a:gd name="T77" fmla="*/ 43 h 149"/>
                <a:gd name="T78" fmla="*/ 13 w 153"/>
                <a:gd name="T79" fmla="*/ 30 h 149"/>
                <a:gd name="T80" fmla="*/ 0 w 153"/>
                <a:gd name="T81" fmla="*/ 43 h 149"/>
                <a:gd name="T82" fmla="*/ 13 w 153"/>
                <a:gd name="T83" fmla="*/ 56 h 149"/>
                <a:gd name="T84" fmla="*/ 73 w 153"/>
                <a:gd name="T85" fmla="*/ 56 h 149"/>
                <a:gd name="T86" fmla="*/ 87 w 153"/>
                <a:gd name="T87" fmla="*/ 71 h 149"/>
                <a:gd name="T88" fmla="*/ 73 w 153"/>
                <a:gd name="T89" fmla="*/ 85 h 149"/>
                <a:gd name="T90" fmla="*/ 59 w 153"/>
                <a:gd name="T91" fmla="*/ 71 h 149"/>
                <a:gd name="T92" fmla="*/ 73 w 153"/>
                <a:gd name="T93" fmla="*/ 5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149">
                  <a:moveTo>
                    <a:pt x="13" y="56"/>
                  </a:moveTo>
                  <a:cubicBezTo>
                    <a:pt x="16" y="56"/>
                    <a:pt x="19" y="55"/>
                    <a:pt x="22" y="52"/>
                  </a:cubicBezTo>
                  <a:cubicBezTo>
                    <a:pt x="49" y="64"/>
                    <a:pt x="49" y="64"/>
                    <a:pt x="49" y="64"/>
                  </a:cubicBezTo>
                  <a:cubicBezTo>
                    <a:pt x="48" y="66"/>
                    <a:pt x="48" y="68"/>
                    <a:pt x="48" y="71"/>
                  </a:cubicBezTo>
                  <a:cubicBezTo>
                    <a:pt x="48" y="76"/>
                    <a:pt x="49" y="80"/>
                    <a:pt x="52" y="84"/>
                  </a:cubicBezTo>
                  <a:cubicBezTo>
                    <a:pt x="34" y="98"/>
                    <a:pt x="34" y="98"/>
                    <a:pt x="34" y="98"/>
                  </a:cubicBezTo>
                  <a:cubicBezTo>
                    <a:pt x="32" y="97"/>
                    <a:pt x="29" y="96"/>
                    <a:pt x="27" y="96"/>
                  </a:cubicBezTo>
                  <a:cubicBezTo>
                    <a:pt x="20" y="96"/>
                    <a:pt x="14" y="102"/>
                    <a:pt x="14" y="109"/>
                  </a:cubicBezTo>
                  <a:cubicBezTo>
                    <a:pt x="14" y="116"/>
                    <a:pt x="20" y="122"/>
                    <a:pt x="27" y="122"/>
                  </a:cubicBezTo>
                  <a:cubicBezTo>
                    <a:pt x="34" y="122"/>
                    <a:pt x="40" y="116"/>
                    <a:pt x="40" y="109"/>
                  </a:cubicBezTo>
                  <a:cubicBezTo>
                    <a:pt x="40" y="108"/>
                    <a:pt x="40" y="106"/>
                    <a:pt x="39" y="105"/>
                  </a:cubicBezTo>
                  <a:cubicBezTo>
                    <a:pt x="58" y="90"/>
                    <a:pt x="58" y="90"/>
                    <a:pt x="58" y="90"/>
                  </a:cubicBezTo>
                  <a:cubicBezTo>
                    <a:pt x="62" y="94"/>
                    <a:pt x="67" y="96"/>
                    <a:pt x="73" y="96"/>
                  </a:cubicBezTo>
                  <a:cubicBezTo>
                    <a:pt x="75" y="96"/>
                    <a:pt x="77" y="95"/>
                    <a:pt x="79" y="95"/>
                  </a:cubicBezTo>
                  <a:cubicBezTo>
                    <a:pt x="96" y="128"/>
                    <a:pt x="96" y="128"/>
                    <a:pt x="96" y="128"/>
                  </a:cubicBezTo>
                  <a:cubicBezTo>
                    <a:pt x="94" y="130"/>
                    <a:pt x="93" y="133"/>
                    <a:pt x="93" y="137"/>
                  </a:cubicBezTo>
                  <a:cubicBezTo>
                    <a:pt x="93" y="144"/>
                    <a:pt x="99" y="149"/>
                    <a:pt x="106" y="149"/>
                  </a:cubicBezTo>
                  <a:cubicBezTo>
                    <a:pt x="113" y="149"/>
                    <a:pt x="119" y="144"/>
                    <a:pt x="119" y="137"/>
                  </a:cubicBezTo>
                  <a:cubicBezTo>
                    <a:pt x="119" y="129"/>
                    <a:pt x="113" y="124"/>
                    <a:pt x="106" y="124"/>
                  </a:cubicBezTo>
                  <a:cubicBezTo>
                    <a:pt x="105" y="124"/>
                    <a:pt x="104" y="124"/>
                    <a:pt x="104" y="124"/>
                  </a:cubicBezTo>
                  <a:cubicBezTo>
                    <a:pt x="87" y="91"/>
                    <a:pt x="87" y="91"/>
                    <a:pt x="87" y="91"/>
                  </a:cubicBezTo>
                  <a:cubicBezTo>
                    <a:pt x="94" y="87"/>
                    <a:pt x="98" y="79"/>
                    <a:pt x="98" y="71"/>
                  </a:cubicBezTo>
                  <a:cubicBezTo>
                    <a:pt x="98" y="71"/>
                    <a:pt x="98" y="71"/>
                    <a:pt x="98" y="70"/>
                  </a:cubicBezTo>
                  <a:cubicBezTo>
                    <a:pt x="129" y="64"/>
                    <a:pt x="129" y="64"/>
                    <a:pt x="129" y="64"/>
                  </a:cubicBezTo>
                  <a:cubicBezTo>
                    <a:pt x="132" y="68"/>
                    <a:pt x="136" y="70"/>
                    <a:pt x="140" y="70"/>
                  </a:cubicBezTo>
                  <a:cubicBezTo>
                    <a:pt x="147" y="70"/>
                    <a:pt x="153" y="64"/>
                    <a:pt x="153" y="57"/>
                  </a:cubicBezTo>
                  <a:cubicBezTo>
                    <a:pt x="153" y="50"/>
                    <a:pt x="147" y="44"/>
                    <a:pt x="140" y="44"/>
                  </a:cubicBezTo>
                  <a:cubicBezTo>
                    <a:pt x="134" y="44"/>
                    <a:pt x="128" y="49"/>
                    <a:pt x="128" y="55"/>
                  </a:cubicBezTo>
                  <a:cubicBezTo>
                    <a:pt x="96" y="62"/>
                    <a:pt x="96" y="62"/>
                    <a:pt x="96" y="62"/>
                  </a:cubicBezTo>
                  <a:cubicBezTo>
                    <a:pt x="93" y="54"/>
                    <a:pt x="86" y="48"/>
                    <a:pt x="77" y="46"/>
                  </a:cubicBezTo>
                  <a:cubicBezTo>
                    <a:pt x="77" y="25"/>
                    <a:pt x="77" y="25"/>
                    <a:pt x="77" y="25"/>
                  </a:cubicBezTo>
                  <a:cubicBezTo>
                    <a:pt x="82" y="23"/>
                    <a:pt x="86" y="18"/>
                    <a:pt x="86" y="13"/>
                  </a:cubicBezTo>
                  <a:cubicBezTo>
                    <a:pt x="86" y="6"/>
                    <a:pt x="80" y="0"/>
                    <a:pt x="73" y="0"/>
                  </a:cubicBezTo>
                  <a:cubicBezTo>
                    <a:pt x="66" y="0"/>
                    <a:pt x="60" y="6"/>
                    <a:pt x="60" y="13"/>
                  </a:cubicBezTo>
                  <a:cubicBezTo>
                    <a:pt x="60" y="18"/>
                    <a:pt x="64" y="23"/>
                    <a:pt x="69" y="25"/>
                  </a:cubicBezTo>
                  <a:cubicBezTo>
                    <a:pt x="69" y="46"/>
                    <a:pt x="69" y="46"/>
                    <a:pt x="69" y="46"/>
                  </a:cubicBezTo>
                  <a:cubicBezTo>
                    <a:pt x="62" y="47"/>
                    <a:pt x="56" y="51"/>
                    <a:pt x="53" y="56"/>
                  </a:cubicBezTo>
                  <a:cubicBezTo>
                    <a:pt x="25" y="44"/>
                    <a:pt x="25" y="44"/>
                    <a:pt x="25" y="44"/>
                  </a:cubicBezTo>
                  <a:cubicBezTo>
                    <a:pt x="25" y="44"/>
                    <a:pt x="25" y="44"/>
                    <a:pt x="25" y="43"/>
                  </a:cubicBezTo>
                  <a:cubicBezTo>
                    <a:pt x="25" y="36"/>
                    <a:pt x="20" y="30"/>
                    <a:pt x="13" y="30"/>
                  </a:cubicBezTo>
                  <a:cubicBezTo>
                    <a:pt x="6" y="30"/>
                    <a:pt x="0" y="36"/>
                    <a:pt x="0" y="43"/>
                  </a:cubicBezTo>
                  <a:cubicBezTo>
                    <a:pt x="0" y="50"/>
                    <a:pt x="6" y="56"/>
                    <a:pt x="13" y="56"/>
                  </a:cubicBezTo>
                  <a:close/>
                  <a:moveTo>
                    <a:pt x="73" y="56"/>
                  </a:moveTo>
                  <a:cubicBezTo>
                    <a:pt x="81" y="56"/>
                    <a:pt x="87" y="63"/>
                    <a:pt x="87" y="71"/>
                  </a:cubicBezTo>
                  <a:cubicBezTo>
                    <a:pt x="87" y="79"/>
                    <a:pt x="81" y="85"/>
                    <a:pt x="73" y="85"/>
                  </a:cubicBezTo>
                  <a:cubicBezTo>
                    <a:pt x="65" y="85"/>
                    <a:pt x="59" y="79"/>
                    <a:pt x="59" y="71"/>
                  </a:cubicBezTo>
                  <a:cubicBezTo>
                    <a:pt x="59" y="63"/>
                    <a:pt x="65" y="56"/>
                    <a:pt x="7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grpSp>
      <p:grpSp>
        <p:nvGrpSpPr>
          <p:cNvPr id="8" name="Group 132"/>
          <p:cNvGrpSpPr/>
          <p:nvPr/>
        </p:nvGrpSpPr>
        <p:grpSpPr>
          <a:xfrm>
            <a:off x="1066112" y="1314589"/>
            <a:ext cx="478303" cy="472172"/>
            <a:chOff x="3162300" y="1958975"/>
            <a:chExt cx="123825" cy="122238"/>
          </a:xfrm>
          <a:solidFill>
            <a:schemeClr val="accent1"/>
          </a:solidFill>
        </p:grpSpPr>
        <p:sp>
          <p:nvSpPr>
            <p:cNvPr id="9" name="Freeform 133"/>
            <p:cNvSpPr>
              <a:spLocks noEditPoints="1"/>
            </p:cNvSpPr>
            <p:nvPr/>
          </p:nvSpPr>
          <p:spPr bwMode="auto">
            <a:xfrm>
              <a:off x="3181350" y="1982788"/>
              <a:ext cx="85725" cy="73025"/>
            </a:xfrm>
            <a:custGeom>
              <a:avLst/>
              <a:gdLst>
                <a:gd name="T0" fmla="*/ 199 w 398"/>
                <a:gd name="T1" fmla="*/ 0 h 340"/>
                <a:gd name="T2" fmla="*/ 179 w 398"/>
                <a:gd name="T3" fmla="*/ 11 h 340"/>
                <a:gd name="T4" fmla="*/ 9 w 398"/>
                <a:gd name="T5" fmla="*/ 306 h 340"/>
                <a:gd name="T6" fmla="*/ 29 w 398"/>
                <a:gd name="T7" fmla="*/ 340 h 340"/>
                <a:gd name="T8" fmla="*/ 369 w 398"/>
                <a:gd name="T9" fmla="*/ 340 h 340"/>
                <a:gd name="T10" fmla="*/ 389 w 398"/>
                <a:gd name="T11" fmla="*/ 306 h 340"/>
                <a:gd name="T12" fmla="*/ 219 w 398"/>
                <a:gd name="T13" fmla="*/ 11 h 340"/>
                <a:gd name="T14" fmla="*/ 199 w 398"/>
                <a:gd name="T15" fmla="*/ 0 h 340"/>
                <a:gd name="T16" fmla="*/ 31 w 398"/>
                <a:gd name="T17" fmla="*/ 316 h 340"/>
                <a:gd name="T18" fmla="*/ 199 w 398"/>
                <a:gd name="T19" fmla="*/ 25 h 340"/>
                <a:gd name="T20" fmla="*/ 367 w 398"/>
                <a:gd name="T21" fmla="*/ 316 h 340"/>
                <a:gd name="T22" fmla="*/ 31 w 398"/>
                <a:gd name="T23" fmla="*/ 316 h 340"/>
                <a:gd name="T24" fmla="*/ 187 w 398"/>
                <a:gd name="T25" fmla="*/ 123 h 340"/>
                <a:gd name="T26" fmla="*/ 187 w 398"/>
                <a:gd name="T27" fmla="*/ 223 h 340"/>
                <a:gd name="T28" fmla="*/ 211 w 398"/>
                <a:gd name="T29" fmla="*/ 223 h 340"/>
                <a:gd name="T30" fmla="*/ 211 w 398"/>
                <a:gd name="T31" fmla="*/ 123 h 340"/>
                <a:gd name="T32" fmla="*/ 187 w 398"/>
                <a:gd name="T33" fmla="*/ 123 h 340"/>
                <a:gd name="T34" fmla="*/ 181 w 398"/>
                <a:gd name="T35" fmla="*/ 266 h 340"/>
                <a:gd name="T36" fmla="*/ 199 w 398"/>
                <a:gd name="T37" fmla="*/ 284 h 340"/>
                <a:gd name="T38" fmla="*/ 217 w 398"/>
                <a:gd name="T39" fmla="*/ 266 h 340"/>
                <a:gd name="T40" fmla="*/ 199 w 398"/>
                <a:gd name="T41" fmla="*/ 248 h 340"/>
                <a:gd name="T42" fmla="*/ 181 w 398"/>
                <a:gd name="T43" fmla="*/ 266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8" h="340">
                  <a:moveTo>
                    <a:pt x="199" y="0"/>
                  </a:moveTo>
                  <a:cubicBezTo>
                    <a:pt x="191" y="0"/>
                    <a:pt x="183" y="4"/>
                    <a:pt x="179" y="11"/>
                  </a:cubicBezTo>
                  <a:cubicBezTo>
                    <a:pt x="9" y="306"/>
                    <a:pt x="9" y="306"/>
                    <a:pt x="9" y="306"/>
                  </a:cubicBezTo>
                  <a:cubicBezTo>
                    <a:pt x="0" y="321"/>
                    <a:pt x="11" y="340"/>
                    <a:pt x="29" y="340"/>
                  </a:cubicBezTo>
                  <a:cubicBezTo>
                    <a:pt x="369" y="340"/>
                    <a:pt x="369" y="340"/>
                    <a:pt x="369" y="340"/>
                  </a:cubicBezTo>
                  <a:cubicBezTo>
                    <a:pt x="387" y="340"/>
                    <a:pt x="398" y="321"/>
                    <a:pt x="389" y="306"/>
                  </a:cubicBezTo>
                  <a:cubicBezTo>
                    <a:pt x="219" y="11"/>
                    <a:pt x="219" y="11"/>
                    <a:pt x="219" y="11"/>
                  </a:cubicBezTo>
                  <a:cubicBezTo>
                    <a:pt x="215" y="4"/>
                    <a:pt x="207" y="0"/>
                    <a:pt x="199" y="0"/>
                  </a:cubicBezTo>
                  <a:close/>
                  <a:moveTo>
                    <a:pt x="31" y="316"/>
                  </a:moveTo>
                  <a:cubicBezTo>
                    <a:pt x="199" y="25"/>
                    <a:pt x="199" y="25"/>
                    <a:pt x="199" y="25"/>
                  </a:cubicBezTo>
                  <a:cubicBezTo>
                    <a:pt x="367" y="316"/>
                    <a:pt x="367" y="316"/>
                    <a:pt x="367" y="316"/>
                  </a:cubicBezTo>
                  <a:lnTo>
                    <a:pt x="31" y="316"/>
                  </a:lnTo>
                  <a:close/>
                  <a:moveTo>
                    <a:pt x="187" y="123"/>
                  </a:moveTo>
                  <a:cubicBezTo>
                    <a:pt x="187" y="223"/>
                    <a:pt x="187" y="223"/>
                    <a:pt x="187" y="223"/>
                  </a:cubicBezTo>
                  <a:cubicBezTo>
                    <a:pt x="211" y="223"/>
                    <a:pt x="211" y="223"/>
                    <a:pt x="211" y="223"/>
                  </a:cubicBezTo>
                  <a:cubicBezTo>
                    <a:pt x="211" y="123"/>
                    <a:pt x="211" y="123"/>
                    <a:pt x="211" y="123"/>
                  </a:cubicBezTo>
                  <a:lnTo>
                    <a:pt x="187" y="123"/>
                  </a:lnTo>
                  <a:close/>
                  <a:moveTo>
                    <a:pt x="181" y="266"/>
                  </a:moveTo>
                  <a:cubicBezTo>
                    <a:pt x="181" y="276"/>
                    <a:pt x="189" y="284"/>
                    <a:pt x="199" y="284"/>
                  </a:cubicBezTo>
                  <a:cubicBezTo>
                    <a:pt x="209" y="284"/>
                    <a:pt x="217" y="276"/>
                    <a:pt x="217" y="266"/>
                  </a:cubicBezTo>
                  <a:cubicBezTo>
                    <a:pt x="217" y="256"/>
                    <a:pt x="209" y="248"/>
                    <a:pt x="199" y="248"/>
                  </a:cubicBezTo>
                  <a:cubicBezTo>
                    <a:pt x="189" y="248"/>
                    <a:pt x="181" y="256"/>
                    <a:pt x="181"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34"/>
            <p:cNvSpPr>
              <a:spLocks noEditPoints="1"/>
            </p:cNvSpPr>
            <p:nvPr/>
          </p:nvSpPr>
          <p:spPr bwMode="auto">
            <a:xfrm>
              <a:off x="3162300" y="1958975"/>
              <a:ext cx="123825" cy="122238"/>
            </a:xfrm>
            <a:custGeom>
              <a:avLst/>
              <a:gdLst>
                <a:gd name="T0" fmla="*/ 0 w 78"/>
                <a:gd name="T1" fmla="*/ 0 h 77"/>
                <a:gd name="T2" fmla="*/ 0 w 78"/>
                <a:gd name="T3" fmla="*/ 77 h 77"/>
                <a:gd name="T4" fmla="*/ 78 w 78"/>
                <a:gd name="T5" fmla="*/ 77 h 77"/>
                <a:gd name="T6" fmla="*/ 78 w 78"/>
                <a:gd name="T7" fmla="*/ 0 h 77"/>
                <a:gd name="T8" fmla="*/ 0 w 78"/>
                <a:gd name="T9" fmla="*/ 0 h 77"/>
                <a:gd name="T10" fmla="*/ 74 w 78"/>
                <a:gd name="T11" fmla="*/ 74 h 77"/>
                <a:gd name="T12" fmla="*/ 3 w 78"/>
                <a:gd name="T13" fmla="*/ 74 h 77"/>
                <a:gd name="T14" fmla="*/ 3 w 78"/>
                <a:gd name="T15" fmla="*/ 3 h 77"/>
                <a:gd name="T16" fmla="*/ 74 w 78"/>
                <a:gd name="T17" fmla="*/ 3 h 77"/>
                <a:gd name="T18" fmla="*/ 74 w 78"/>
                <a:gd name="T19"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7">
                  <a:moveTo>
                    <a:pt x="0" y="0"/>
                  </a:moveTo>
                  <a:lnTo>
                    <a:pt x="0" y="77"/>
                  </a:lnTo>
                  <a:lnTo>
                    <a:pt x="78" y="77"/>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457"/>
          <p:cNvGrpSpPr/>
          <p:nvPr/>
        </p:nvGrpSpPr>
        <p:grpSpPr>
          <a:xfrm>
            <a:off x="1066112" y="3713565"/>
            <a:ext cx="478323" cy="478323"/>
            <a:chOff x="2441384" y="3360806"/>
            <a:chExt cx="206140" cy="206140"/>
          </a:xfrm>
          <a:solidFill>
            <a:schemeClr val="accent1"/>
          </a:solidFill>
        </p:grpSpPr>
        <p:sp>
          <p:nvSpPr>
            <p:cNvPr id="12" name="Freeform 64"/>
            <p:cNvSpPr>
              <a:spLocks noEditPoints="1"/>
            </p:cNvSpPr>
            <p:nvPr/>
          </p:nvSpPr>
          <p:spPr bwMode="auto">
            <a:xfrm>
              <a:off x="2441384" y="3360806"/>
              <a:ext cx="206140" cy="206140"/>
            </a:xfrm>
            <a:custGeom>
              <a:avLst/>
              <a:gdLst>
                <a:gd name="T0" fmla="*/ 0 w 62"/>
                <a:gd name="T1" fmla="*/ 0 h 62"/>
                <a:gd name="T2" fmla="*/ 0 w 62"/>
                <a:gd name="T3" fmla="*/ 62 h 62"/>
                <a:gd name="T4" fmla="*/ 62 w 62"/>
                <a:gd name="T5" fmla="*/ 62 h 62"/>
                <a:gd name="T6" fmla="*/ 62 w 62"/>
                <a:gd name="T7" fmla="*/ 0 h 62"/>
                <a:gd name="T8" fmla="*/ 0 w 62"/>
                <a:gd name="T9" fmla="*/ 0 h 62"/>
                <a:gd name="T10" fmla="*/ 60 w 62"/>
                <a:gd name="T11" fmla="*/ 59 h 62"/>
                <a:gd name="T12" fmla="*/ 3 w 62"/>
                <a:gd name="T13" fmla="*/ 59 h 62"/>
                <a:gd name="T14" fmla="*/ 3 w 62"/>
                <a:gd name="T15" fmla="*/ 3 h 62"/>
                <a:gd name="T16" fmla="*/ 60 w 62"/>
                <a:gd name="T17" fmla="*/ 3 h 62"/>
                <a:gd name="T18" fmla="*/ 60 w 62"/>
                <a:gd name="T19"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0" y="0"/>
                  </a:moveTo>
                  <a:lnTo>
                    <a:pt x="0" y="62"/>
                  </a:lnTo>
                  <a:lnTo>
                    <a:pt x="62" y="62"/>
                  </a:lnTo>
                  <a:lnTo>
                    <a:pt x="62" y="0"/>
                  </a:lnTo>
                  <a:lnTo>
                    <a:pt x="0" y="0"/>
                  </a:lnTo>
                  <a:close/>
                  <a:moveTo>
                    <a:pt x="60" y="59"/>
                  </a:moveTo>
                  <a:lnTo>
                    <a:pt x="3" y="59"/>
                  </a:lnTo>
                  <a:lnTo>
                    <a:pt x="3" y="3"/>
                  </a:lnTo>
                  <a:lnTo>
                    <a:pt x="60" y="3"/>
                  </a:lnTo>
                  <a:lnTo>
                    <a:pt x="60"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3" name="Freeform 65"/>
            <p:cNvSpPr>
              <a:spLocks/>
            </p:cNvSpPr>
            <p:nvPr/>
          </p:nvSpPr>
          <p:spPr bwMode="auto">
            <a:xfrm>
              <a:off x="2614276" y="3523724"/>
              <a:ext cx="9973" cy="9976"/>
            </a:xfrm>
            <a:custGeom>
              <a:avLst/>
              <a:gdLst>
                <a:gd name="T0" fmla="*/ 3 w 3"/>
                <a:gd name="T1" fmla="*/ 0 h 3"/>
                <a:gd name="T2" fmla="*/ 2 w 3"/>
                <a:gd name="T3" fmla="*/ 0 h 3"/>
                <a:gd name="T4" fmla="*/ 1 w 3"/>
                <a:gd name="T5" fmla="*/ 0 h 3"/>
                <a:gd name="T6" fmla="*/ 0 w 3"/>
                <a:gd name="T7" fmla="*/ 0 h 3"/>
                <a:gd name="T8" fmla="*/ 0 w 3"/>
                <a:gd name="T9" fmla="*/ 1 h 3"/>
                <a:gd name="T10" fmla="*/ 0 w 3"/>
                <a:gd name="T11" fmla="*/ 3 h 3"/>
                <a:gd name="T12" fmla="*/ 3 w 3"/>
                <a:gd name="T13" fmla="*/ 3 h 3"/>
                <a:gd name="T14" fmla="*/ 3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0"/>
                  </a:moveTo>
                  <a:lnTo>
                    <a:pt x="2" y="0"/>
                  </a:lnTo>
                  <a:lnTo>
                    <a:pt x="1" y="0"/>
                  </a:lnTo>
                  <a:lnTo>
                    <a:pt x="0" y="0"/>
                  </a:lnTo>
                  <a:lnTo>
                    <a:pt x="0" y="1"/>
                  </a:lnTo>
                  <a:lnTo>
                    <a:pt x="0" y="3"/>
                  </a:lnTo>
                  <a:lnTo>
                    <a:pt x="3" y="3"/>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4" name="Rectangle 66"/>
            <p:cNvSpPr>
              <a:spLocks noChangeArrowheads="1"/>
            </p:cNvSpPr>
            <p:nvPr/>
          </p:nvSpPr>
          <p:spPr bwMode="auto">
            <a:xfrm>
              <a:off x="2607626" y="3523724"/>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5" name="Rectangle 67"/>
            <p:cNvSpPr>
              <a:spLocks noChangeArrowheads="1"/>
            </p:cNvSpPr>
            <p:nvPr/>
          </p:nvSpPr>
          <p:spPr bwMode="auto">
            <a:xfrm>
              <a:off x="2597653" y="3523724"/>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6" name="Freeform 68"/>
            <p:cNvSpPr>
              <a:spLocks/>
            </p:cNvSpPr>
            <p:nvPr/>
          </p:nvSpPr>
          <p:spPr bwMode="auto">
            <a:xfrm>
              <a:off x="2584353" y="3523724"/>
              <a:ext cx="9973" cy="9976"/>
            </a:xfrm>
            <a:custGeom>
              <a:avLst/>
              <a:gdLst>
                <a:gd name="T0" fmla="*/ 3 w 3"/>
                <a:gd name="T1" fmla="*/ 1 h 3"/>
                <a:gd name="T2" fmla="*/ 3 w 3"/>
                <a:gd name="T3" fmla="*/ 0 h 3"/>
                <a:gd name="T4" fmla="*/ 3 w 3"/>
                <a:gd name="T5" fmla="*/ 0 h 3"/>
                <a:gd name="T6" fmla="*/ 2 w 3"/>
                <a:gd name="T7" fmla="*/ 0 h 3"/>
                <a:gd name="T8" fmla="*/ 0 w 3"/>
                <a:gd name="T9" fmla="*/ 0 h 3"/>
                <a:gd name="T10" fmla="*/ 0 w 3"/>
                <a:gd name="T11" fmla="*/ 3 h 3"/>
                <a:gd name="T12" fmla="*/ 3 w 3"/>
                <a:gd name="T13" fmla="*/ 3 h 3"/>
                <a:gd name="T14" fmla="*/ 3 w 3"/>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1"/>
                  </a:moveTo>
                  <a:lnTo>
                    <a:pt x="3" y="0"/>
                  </a:lnTo>
                  <a:lnTo>
                    <a:pt x="3" y="0"/>
                  </a:lnTo>
                  <a:lnTo>
                    <a:pt x="2" y="0"/>
                  </a:lnTo>
                  <a:lnTo>
                    <a:pt x="0" y="0"/>
                  </a:lnTo>
                  <a:lnTo>
                    <a:pt x="0" y="3"/>
                  </a:lnTo>
                  <a:lnTo>
                    <a:pt x="3" y="3"/>
                  </a:lnTo>
                  <a:lnTo>
                    <a:pt x="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7" name="Rectangle 69"/>
            <p:cNvSpPr>
              <a:spLocks noChangeArrowheads="1"/>
            </p:cNvSpPr>
            <p:nvPr/>
          </p:nvSpPr>
          <p:spPr bwMode="auto">
            <a:xfrm>
              <a:off x="2584353" y="3513749"/>
              <a:ext cx="9973"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8" name="Rectangle 70"/>
            <p:cNvSpPr>
              <a:spLocks noChangeArrowheads="1"/>
            </p:cNvSpPr>
            <p:nvPr/>
          </p:nvSpPr>
          <p:spPr bwMode="auto">
            <a:xfrm>
              <a:off x="2584353" y="3507099"/>
              <a:ext cx="9973" cy="33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9" name="Freeform 71"/>
            <p:cNvSpPr>
              <a:spLocks/>
            </p:cNvSpPr>
            <p:nvPr/>
          </p:nvSpPr>
          <p:spPr bwMode="auto">
            <a:xfrm>
              <a:off x="2584353" y="3493799"/>
              <a:ext cx="9973" cy="9976"/>
            </a:xfrm>
            <a:custGeom>
              <a:avLst/>
              <a:gdLst>
                <a:gd name="T0" fmla="*/ 3 w 3"/>
                <a:gd name="T1" fmla="*/ 3 h 3"/>
                <a:gd name="T2" fmla="*/ 3 w 3"/>
                <a:gd name="T3" fmla="*/ 3 h 3"/>
                <a:gd name="T4" fmla="*/ 3 w 3"/>
                <a:gd name="T5" fmla="*/ 1 h 3"/>
                <a:gd name="T6" fmla="*/ 3 w 3"/>
                <a:gd name="T7" fmla="*/ 0 h 3"/>
                <a:gd name="T8" fmla="*/ 0 w 3"/>
                <a:gd name="T9" fmla="*/ 0 h 3"/>
                <a:gd name="T10" fmla="*/ 0 w 3"/>
                <a:gd name="T11" fmla="*/ 3 h 3"/>
                <a:gd name="T12" fmla="*/ 2 w 3"/>
                <a:gd name="T13" fmla="*/ 3 h 3"/>
                <a:gd name="T14" fmla="*/ 3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3"/>
                  </a:moveTo>
                  <a:lnTo>
                    <a:pt x="3" y="3"/>
                  </a:lnTo>
                  <a:lnTo>
                    <a:pt x="3" y="1"/>
                  </a:lnTo>
                  <a:lnTo>
                    <a:pt x="3" y="0"/>
                  </a:lnTo>
                  <a:lnTo>
                    <a:pt x="0" y="0"/>
                  </a:lnTo>
                  <a:lnTo>
                    <a:pt x="0" y="3"/>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0" name="Rectangle 72"/>
            <p:cNvSpPr>
              <a:spLocks noChangeArrowheads="1"/>
            </p:cNvSpPr>
            <p:nvPr/>
          </p:nvSpPr>
          <p:spPr bwMode="auto">
            <a:xfrm>
              <a:off x="2597653" y="3493799"/>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1" name="Rectangle 73"/>
            <p:cNvSpPr>
              <a:spLocks noChangeArrowheads="1"/>
            </p:cNvSpPr>
            <p:nvPr/>
          </p:nvSpPr>
          <p:spPr bwMode="auto">
            <a:xfrm>
              <a:off x="2607626" y="3493799"/>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2" name="Freeform 74"/>
            <p:cNvSpPr>
              <a:spLocks/>
            </p:cNvSpPr>
            <p:nvPr/>
          </p:nvSpPr>
          <p:spPr bwMode="auto">
            <a:xfrm>
              <a:off x="2614276" y="3493799"/>
              <a:ext cx="9973" cy="9976"/>
            </a:xfrm>
            <a:custGeom>
              <a:avLst/>
              <a:gdLst>
                <a:gd name="T0" fmla="*/ 3 w 3"/>
                <a:gd name="T1" fmla="*/ 3 h 3"/>
                <a:gd name="T2" fmla="*/ 3 w 3"/>
                <a:gd name="T3" fmla="*/ 0 h 3"/>
                <a:gd name="T4" fmla="*/ 0 w 3"/>
                <a:gd name="T5" fmla="*/ 0 h 3"/>
                <a:gd name="T6" fmla="*/ 0 w 3"/>
                <a:gd name="T7" fmla="*/ 1 h 3"/>
                <a:gd name="T8" fmla="*/ 0 w 3"/>
                <a:gd name="T9" fmla="*/ 3 h 3"/>
                <a:gd name="T10" fmla="*/ 0 w 3"/>
                <a:gd name="T11" fmla="*/ 3 h 3"/>
                <a:gd name="T12" fmla="*/ 2 w 3"/>
                <a:gd name="T13" fmla="*/ 3 h 3"/>
                <a:gd name="T14" fmla="*/ 3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3"/>
                  </a:moveTo>
                  <a:lnTo>
                    <a:pt x="3" y="0"/>
                  </a:lnTo>
                  <a:lnTo>
                    <a:pt x="0" y="0"/>
                  </a:lnTo>
                  <a:lnTo>
                    <a:pt x="0" y="1"/>
                  </a:lnTo>
                  <a:lnTo>
                    <a:pt x="0" y="3"/>
                  </a:lnTo>
                  <a:lnTo>
                    <a:pt x="0" y="3"/>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3" name="Rectangle 75"/>
            <p:cNvSpPr>
              <a:spLocks noChangeArrowheads="1"/>
            </p:cNvSpPr>
            <p:nvPr/>
          </p:nvSpPr>
          <p:spPr bwMode="auto">
            <a:xfrm>
              <a:off x="2614276" y="3507099"/>
              <a:ext cx="9973" cy="33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4" name="Rectangle 76"/>
            <p:cNvSpPr>
              <a:spLocks noChangeArrowheads="1"/>
            </p:cNvSpPr>
            <p:nvPr/>
          </p:nvSpPr>
          <p:spPr bwMode="auto">
            <a:xfrm>
              <a:off x="2614276" y="3513749"/>
              <a:ext cx="9973"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5" name="Freeform 77"/>
            <p:cNvSpPr>
              <a:spLocks noEditPoints="1"/>
            </p:cNvSpPr>
            <p:nvPr/>
          </p:nvSpPr>
          <p:spPr bwMode="auto">
            <a:xfrm>
              <a:off x="2464659" y="3397380"/>
              <a:ext cx="99745" cy="136320"/>
            </a:xfrm>
            <a:custGeom>
              <a:avLst/>
              <a:gdLst>
                <a:gd name="T0" fmla="*/ 12 w 30"/>
                <a:gd name="T1" fmla="*/ 29 h 41"/>
                <a:gd name="T2" fmla="*/ 8 w 30"/>
                <a:gd name="T3" fmla="*/ 29 h 41"/>
                <a:gd name="T4" fmla="*/ 8 w 30"/>
                <a:gd name="T5" fmla="*/ 22 h 41"/>
                <a:gd name="T6" fmla="*/ 23 w 30"/>
                <a:gd name="T7" fmla="*/ 22 h 41"/>
                <a:gd name="T8" fmla="*/ 23 w 30"/>
                <a:gd name="T9" fmla="*/ 29 h 41"/>
                <a:gd name="T10" fmla="*/ 19 w 30"/>
                <a:gd name="T11" fmla="*/ 29 h 41"/>
                <a:gd name="T12" fmla="*/ 19 w 30"/>
                <a:gd name="T13" fmla="*/ 41 h 41"/>
                <a:gd name="T14" fmla="*/ 30 w 30"/>
                <a:gd name="T15" fmla="*/ 41 h 41"/>
                <a:gd name="T16" fmla="*/ 30 w 30"/>
                <a:gd name="T17" fmla="*/ 29 h 41"/>
                <a:gd name="T18" fmla="*/ 26 w 30"/>
                <a:gd name="T19" fmla="*/ 29 h 41"/>
                <a:gd name="T20" fmla="*/ 26 w 30"/>
                <a:gd name="T21" fmla="*/ 11 h 41"/>
                <a:gd name="T22" fmla="*/ 30 w 30"/>
                <a:gd name="T23" fmla="*/ 11 h 41"/>
                <a:gd name="T24" fmla="*/ 30 w 30"/>
                <a:gd name="T25" fmla="*/ 0 h 41"/>
                <a:gd name="T26" fmla="*/ 19 w 30"/>
                <a:gd name="T27" fmla="*/ 0 h 41"/>
                <a:gd name="T28" fmla="*/ 19 w 30"/>
                <a:gd name="T29" fmla="*/ 11 h 41"/>
                <a:gd name="T30" fmla="*/ 23 w 30"/>
                <a:gd name="T31" fmla="*/ 11 h 41"/>
                <a:gd name="T32" fmla="*/ 23 w 30"/>
                <a:gd name="T33" fmla="*/ 19 h 41"/>
                <a:gd name="T34" fmla="*/ 5 w 30"/>
                <a:gd name="T35" fmla="*/ 19 h 41"/>
                <a:gd name="T36" fmla="*/ 5 w 30"/>
                <a:gd name="T37" fmla="*/ 29 h 41"/>
                <a:gd name="T38" fmla="*/ 0 w 30"/>
                <a:gd name="T39" fmla="*/ 29 h 41"/>
                <a:gd name="T40" fmla="*/ 0 w 30"/>
                <a:gd name="T41" fmla="*/ 41 h 41"/>
                <a:gd name="T42" fmla="*/ 12 w 30"/>
                <a:gd name="T43" fmla="*/ 41 h 41"/>
                <a:gd name="T44" fmla="*/ 12 w 30"/>
                <a:gd name="T45" fmla="*/ 29 h 41"/>
                <a:gd name="T46" fmla="*/ 28 w 30"/>
                <a:gd name="T47" fmla="*/ 38 h 41"/>
                <a:gd name="T48" fmla="*/ 21 w 30"/>
                <a:gd name="T49" fmla="*/ 38 h 41"/>
                <a:gd name="T50" fmla="*/ 21 w 30"/>
                <a:gd name="T51" fmla="*/ 32 h 41"/>
                <a:gd name="T52" fmla="*/ 28 w 30"/>
                <a:gd name="T53" fmla="*/ 32 h 41"/>
                <a:gd name="T54" fmla="*/ 28 w 30"/>
                <a:gd name="T55" fmla="*/ 38 h 41"/>
                <a:gd name="T56" fmla="*/ 21 w 30"/>
                <a:gd name="T57" fmla="*/ 2 h 41"/>
                <a:gd name="T58" fmla="*/ 28 w 30"/>
                <a:gd name="T59" fmla="*/ 2 h 41"/>
                <a:gd name="T60" fmla="*/ 28 w 30"/>
                <a:gd name="T61" fmla="*/ 9 h 41"/>
                <a:gd name="T62" fmla="*/ 21 w 30"/>
                <a:gd name="T63" fmla="*/ 9 h 41"/>
                <a:gd name="T64" fmla="*/ 21 w 30"/>
                <a:gd name="T65" fmla="*/ 2 h 41"/>
                <a:gd name="T66" fmla="*/ 9 w 30"/>
                <a:gd name="T67" fmla="*/ 38 h 41"/>
                <a:gd name="T68" fmla="*/ 3 w 30"/>
                <a:gd name="T69" fmla="*/ 38 h 41"/>
                <a:gd name="T70" fmla="*/ 3 w 30"/>
                <a:gd name="T71" fmla="*/ 32 h 41"/>
                <a:gd name="T72" fmla="*/ 9 w 30"/>
                <a:gd name="T73" fmla="*/ 32 h 41"/>
                <a:gd name="T74" fmla="*/ 9 w 30"/>
                <a:gd name="T75"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 h="41">
                  <a:moveTo>
                    <a:pt x="12" y="29"/>
                  </a:moveTo>
                  <a:lnTo>
                    <a:pt x="8" y="29"/>
                  </a:lnTo>
                  <a:lnTo>
                    <a:pt x="8" y="22"/>
                  </a:lnTo>
                  <a:lnTo>
                    <a:pt x="23" y="22"/>
                  </a:lnTo>
                  <a:lnTo>
                    <a:pt x="23" y="29"/>
                  </a:lnTo>
                  <a:lnTo>
                    <a:pt x="19" y="29"/>
                  </a:lnTo>
                  <a:lnTo>
                    <a:pt x="19" y="41"/>
                  </a:lnTo>
                  <a:lnTo>
                    <a:pt x="30" y="41"/>
                  </a:lnTo>
                  <a:lnTo>
                    <a:pt x="30" y="29"/>
                  </a:lnTo>
                  <a:lnTo>
                    <a:pt x="26" y="29"/>
                  </a:lnTo>
                  <a:lnTo>
                    <a:pt x="26" y="11"/>
                  </a:lnTo>
                  <a:lnTo>
                    <a:pt x="30" y="11"/>
                  </a:lnTo>
                  <a:lnTo>
                    <a:pt x="30" y="0"/>
                  </a:lnTo>
                  <a:lnTo>
                    <a:pt x="19" y="0"/>
                  </a:lnTo>
                  <a:lnTo>
                    <a:pt x="19" y="11"/>
                  </a:lnTo>
                  <a:lnTo>
                    <a:pt x="23" y="11"/>
                  </a:lnTo>
                  <a:lnTo>
                    <a:pt x="23" y="19"/>
                  </a:lnTo>
                  <a:lnTo>
                    <a:pt x="5" y="19"/>
                  </a:lnTo>
                  <a:lnTo>
                    <a:pt x="5" y="29"/>
                  </a:lnTo>
                  <a:lnTo>
                    <a:pt x="0" y="29"/>
                  </a:lnTo>
                  <a:lnTo>
                    <a:pt x="0" y="41"/>
                  </a:lnTo>
                  <a:lnTo>
                    <a:pt x="12" y="41"/>
                  </a:lnTo>
                  <a:lnTo>
                    <a:pt x="12" y="29"/>
                  </a:lnTo>
                  <a:close/>
                  <a:moveTo>
                    <a:pt x="28" y="38"/>
                  </a:moveTo>
                  <a:lnTo>
                    <a:pt x="21" y="38"/>
                  </a:lnTo>
                  <a:lnTo>
                    <a:pt x="21" y="32"/>
                  </a:lnTo>
                  <a:lnTo>
                    <a:pt x="28" y="32"/>
                  </a:lnTo>
                  <a:lnTo>
                    <a:pt x="28" y="38"/>
                  </a:lnTo>
                  <a:close/>
                  <a:moveTo>
                    <a:pt x="21" y="2"/>
                  </a:moveTo>
                  <a:lnTo>
                    <a:pt x="28" y="2"/>
                  </a:lnTo>
                  <a:lnTo>
                    <a:pt x="28" y="9"/>
                  </a:lnTo>
                  <a:lnTo>
                    <a:pt x="21" y="9"/>
                  </a:lnTo>
                  <a:lnTo>
                    <a:pt x="21" y="2"/>
                  </a:lnTo>
                  <a:close/>
                  <a:moveTo>
                    <a:pt x="9" y="38"/>
                  </a:moveTo>
                  <a:lnTo>
                    <a:pt x="3" y="38"/>
                  </a:lnTo>
                  <a:lnTo>
                    <a:pt x="3" y="32"/>
                  </a:lnTo>
                  <a:lnTo>
                    <a:pt x="9" y="32"/>
                  </a:lnTo>
                  <a:lnTo>
                    <a:pt x="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6" name="Rectangle 78"/>
            <p:cNvSpPr>
              <a:spLocks noChangeArrowheads="1"/>
            </p:cNvSpPr>
            <p:nvPr/>
          </p:nvSpPr>
          <p:spPr bwMode="auto">
            <a:xfrm>
              <a:off x="2554429" y="3460551"/>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7" name="Rectangle 79"/>
            <p:cNvSpPr>
              <a:spLocks noChangeArrowheads="1"/>
            </p:cNvSpPr>
            <p:nvPr/>
          </p:nvSpPr>
          <p:spPr bwMode="auto">
            <a:xfrm>
              <a:off x="2564404" y="3460551"/>
              <a:ext cx="9973"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8" name="Rectangle 80"/>
            <p:cNvSpPr>
              <a:spLocks noChangeArrowheads="1"/>
            </p:cNvSpPr>
            <p:nvPr/>
          </p:nvSpPr>
          <p:spPr bwMode="auto">
            <a:xfrm>
              <a:off x="2577704" y="3460551"/>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9" name="Rectangle 81"/>
            <p:cNvSpPr>
              <a:spLocks noChangeArrowheads="1"/>
            </p:cNvSpPr>
            <p:nvPr/>
          </p:nvSpPr>
          <p:spPr bwMode="auto">
            <a:xfrm>
              <a:off x="2587677" y="3460551"/>
              <a:ext cx="9973"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30" name="Rectangle 82"/>
            <p:cNvSpPr>
              <a:spLocks noChangeArrowheads="1"/>
            </p:cNvSpPr>
            <p:nvPr/>
          </p:nvSpPr>
          <p:spPr bwMode="auto">
            <a:xfrm>
              <a:off x="2600977" y="3460551"/>
              <a:ext cx="9973"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31" name="Rectangle 83"/>
            <p:cNvSpPr>
              <a:spLocks noChangeArrowheads="1"/>
            </p:cNvSpPr>
            <p:nvPr/>
          </p:nvSpPr>
          <p:spPr bwMode="auto">
            <a:xfrm>
              <a:off x="2600977" y="3473850"/>
              <a:ext cx="9973"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32" name="Rectangle 84"/>
            <p:cNvSpPr>
              <a:spLocks noChangeArrowheads="1"/>
            </p:cNvSpPr>
            <p:nvPr/>
          </p:nvSpPr>
          <p:spPr bwMode="auto">
            <a:xfrm>
              <a:off x="2600977" y="3483826"/>
              <a:ext cx="9973"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grpSp>
      <p:grpSp>
        <p:nvGrpSpPr>
          <p:cNvPr id="33" name="Group 225"/>
          <p:cNvGrpSpPr/>
          <p:nvPr/>
        </p:nvGrpSpPr>
        <p:grpSpPr>
          <a:xfrm>
            <a:off x="1066112" y="2114848"/>
            <a:ext cx="471654" cy="471654"/>
            <a:chOff x="4287838" y="1854201"/>
            <a:chExt cx="149225" cy="149225"/>
          </a:xfrm>
          <a:solidFill>
            <a:schemeClr val="accent1"/>
          </a:solidFill>
        </p:grpSpPr>
        <p:sp>
          <p:nvSpPr>
            <p:cNvPr id="34" name="Freeform 159"/>
            <p:cNvSpPr>
              <a:spLocks noEditPoints="1"/>
            </p:cNvSpPr>
            <p:nvPr/>
          </p:nvSpPr>
          <p:spPr bwMode="auto">
            <a:xfrm>
              <a:off x="4287838" y="1854201"/>
              <a:ext cx="149225" cy="149225"/>
            </a:xfrm>
            <a:custGeom>
              <a:avLst/>
              <a:gdLst>
                <a:gd name="T0" fmla="*/ 0 w 94"/>
                <a:gd name="T1" fmla="*/ 0 h 94"/>
                <a:gd name="T2" fmla="*/ 0 w 94"/>
                <a:gd name="T3" fmla="*/ 94 h 94"/>
                <a:gd name="T4" fmla="*/ 94 w 94"/>
                <a:gd name="T5" fmla="*/ 94 h 94"/>
                <a:gd name="T6" fmla="*/ 94 w 94"/>
                <a:gd name="T7" fmla="*/ 0 h 94"/>
                <a:gd name="T8" fmla="*/ 0 w 94"/>
                <a:gd name="T9" fmla="*/ 0 h 94"/>
                <a:gd name="T10" fmla="*/ 90 w 94"/>
                <a:gd name="T11" fmla="*/ 90 h 94"/>
                <a:gd name="T12" fmla="*/ 4 w 94"/>
                <a:gd name="T13" fmla="*/ 90 h 94"/>
                <a:gd name="T14" fmla="*/ 4 w 94"/>
                <a:gd name="T15" fmla="*/ 4 h 94"/>
                <a:gd name="T16" fmla="*/ 90 w 94"/>
                <a:gd name="T17" fmla="*/ 4 h 94"/>
                <a:gd name="T18" fmla="*/ 90 w 94"/>
                <a:gd name="T1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0" y="0"/>
                  </a:moveTo>
                  <a:lnTo>
                    <a:pt x="0" y="94"/>
                  </a:lnTo>
                  <a:lnTo>
                    <a:pt x="94" y="94"/>
                  </a:lnTo>
                  <a:lnTo>
                    <a:pt x="94" y="0"/>
                  </a:lnTo>
                  <a:lnTo>
                    <a:pt x="0" y="0"/>
                  </a:lnTo>
                  <a:close/>
                  <a:moveTo>
                    <a:pt x="90" y="90"/>
                  </a:moveTo>
                  <a:lnTo>
                    <a:pt x="4" y="90"/>
                  </a:lnTo>
                  <a:lnTo>
                    <a:pt x="4" y="4"/>
                  </a:lnTo>
                  <a:lnTo>
                    <a:pt x="90" y="4"/>
                  </a:lnTo>
                  <a:lnTo>
                    <a:pt x="9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35" name="Line 160"/>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36" name="Line 161"/>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37" name="Freeform 162"/>
            <p:cNvSpPr>
              <a:spLocks noEditPoints="1"/>
            </p:cNvSpPr>
            <p:nvPr/>
          </p:nvSpPr>
          <p:spPr bwMode="auto">
            <a:xfrm>
              <a:off x="4308475" y="1881188"/>
              <a:ext cx="101600" cy="96838"/>
            </a:xfrm>
            <a:custGeom>
              <a:avLst/>
              <a:gdLst>
                <a:gd name="T0" fmla="*/ 94 w 131"/>
                <a:gd name="T1" fmla="*/ 106 h 125"/>
                <a:gd name="T2" fmla="*/ 112 w 131"/>
                <a:gd name="T3" fmla="*/ 125 h 125"/>
                <a:gd name="T4" fmla="*/ 131 w 131"/>
                <a:gd name="T5" fmla="*/ 106 h 125"/>
                <a:gd name="T6" fmla="*/ 112 w 131"/>
                <a:gd name="T7" fmla="*/ 87 h 125"/>
                <a:gd name="T8" fmla="*/ 97 w 131"/>
                <a:gd name="T9" fmla="*/ 95 h 125"/>
                <a:gd name="T10" fmla="*/ 97 w 131"/>
                <a:gd name="T11" fmla="*/ 96 h 125"/>
                <a:gd name="T12" fmla="*/ 38 w 131"/>
                <a:gd name="T13" fmla="*/ 65 h 125"/>
                <a:gd name="T14" fmla="*/ 38 w 131"/>
                <a:gd name="T15" fmla="*/ 64 h 125"/>
                <a:gd name="T16" fmla="*/ 38 w 131"/>
                <a:gd name="T17" fmla="*/ 62 h 125"/>
                <a:gd name="T18" fmla="*/ 38 w 131"/>
                <a:gd name="T19" fmla="*/ 60 h 125"/>
                <a:gd name="T20" fmla="*/ 38 w 131"/>
                <a:gd name="T21" fmla="*/ 60 h 125"/>
                <a:gd name="T22" fmla="*/ 97 w 131"/>
                <a:gd name="T23" fmla="*/ 29 h 125"/>
                <a:gd name="T24" fmla="*/ 97 w 131"/>
                <a:gd name="T25" fmla="*/ 29 h 125"/>
                <a:gd name="T26" fmla="*/ 112 w 131"/>
                <a:gd name="T27" fmla="*/ 37 h 125"/>
                <a:gd name="T28" fmla="*/ 131 w 131"/>
                <a:gd name="T29" fmla="*/ 18 h 125"/>
                <a:gd name="T30" fmla="*/ 112 w 131"/>
                <a:gd name="T31" fmla="*/ 0 h 125"/>
                <a:gd name="T32" fmla="*/ 94 w 131"/>
                <a:gd name="T33" fmla="*/ 18 h 125"/>
                <a:gd name="T34" fmla="*/ 94 w 131"/>
                <a:gd name="T35" fmla="*/ 21 h 125"/>
                <a:gd name="T36" fmla="*/ 94 w 131"/>
                <a:gd name="T37" fmla="*/ 21 h 125"/>
                <a:gd name="T38" fmla="*/ 35 w 131"/>
                <a:gd name="T39" fmla="*/ 52 h 125"/>
                <a:gd name="T40" fmla="*/ 34 w 131"/>
                <a:gd name="T41" fmla="*/ 52 h 125"/>
                <a:gd name="T42" fmla="*/ 19 w 131"/>
                <a:gd name="T43" fmla="*/ 44 h 125"/>
                <a:gd name="T44" fmla="*/ 0 w 131"/>
                <a:gd name="T45" fmla="*/ 62 h 125"/>
                <a:gd name="T46" fmla="*/ 19 w 131"/>
                <a:gd name="T47" fmla="*/ 81 h 125"/>
                <a:gd name="T48" fmla="*/ 34 w 131"/>
                <a:gd name="T49" fmla="*/ 73 h 125"/>
                <a:gd name="T50" fmla="*/ 35 w 131"/>
                <a:gd name="T51" fmla="*/ 73 h 125"/>
                <a:gd name="T52" fmla="*/ 94 w 131"/>
                <a:gd name="T53" fmla="*/ 104 h 125"/>
                <a:gd name="T54" fmla="*/ 94 w 131"/>
                <a:gd name="T55" fmla="*/ 104 h 125"/>
                <a:gd name="T56" fmla="*/ 94 w 131"/>
                <a:gd name="T57" fmla="*/ 106 h 125"/>
                <a:gd name="T58" fmla="*/ 112 w 131"/>
                <a:gd name="T59" fmla="*/ 96 h 125"/>
                <a:gd name="T60" fmla="*/ 123 w 131"/>
                <a:gd name="T61" fmla="*/ 106 h 125"/>
                <a:gd name="T62" fmla="*/ 112 w 131"/>
                <a:gd name="T63" fmla="*/ 117 h 125"/>
                <a:gd name="T64" fmla="*/ 102 w 131"/>
                <a:gd name="T65" fmla="*/ 106 h 125"/>
                <a:gd name="T66" fmla="*/ 112 w 131"/>
                <a:gd name="T67" fmla="*/ 96 h 125"/>
                <a:gd name="T68" fmla="*/ 112 w 131"/>
                <a:gd name="T69" fmla="*/ 8 h 125"/>
                <a:gd name="T70" fmla="*/ 123 w 131"/>
                <a:gd name="T71" fmla="*/ 18 h 125"/>
                <a:gd name="T72" fmla="*/ 112 w 131"/>
                <a:gd name="T73" fmla="*/ 29 h 125"/>
                <a:gd name="T74" fmla="*/ 102 w 131"/>
                <a:gd name="T75" fmla="*/ 18 h 125"/>
                <a:gd name="T76" fmla="*/ 112 w 131"/>
                <a:gd name="T77" fmla="*/ 8 h 125"/>
                <a:gd name="T78" fmla="*/ 19 w 131"/>
                <a:gd name="T79" fmla="*/ 73 h 125"/>
                <a:gd name="T80" fmla="*/ 9 w 131"/>
                <a:gd name="T81" fmla="*/ 62 h 125"/>
                <a:gd name="T82" fmla="*/ 19 w 131"/>
                <a:gd name="T83" fmla="*/ 52 h 125"/>
                <a:gd name="T84" fmla="*/ 30 w 131"/>
                <a:gd name="T85" fmla="*/ 62 h 125"/>
                <a:gd name="T86" fmla="*/ 19 w 131"/>
                <a:gd name="T87" fmla="*/ 7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 h="125">
                  <a:moveTo>
                    <a:pt x="94" y="106"/>
                  </a:moveTo>
                  <a:cubicBezTo>
                    <a:pt x="94" y="117"/>
                    <a:pt x="102" y="125"/>
                    <a:pt x="112" y="125"/>
                  </a:cubicBezTo>
                  <a:cubicBezTo>
                    <a:pt x="123" y="125"/>
                    <a:pt x="131" y="117"/>
                    <a:pt x="131" y="106"/>
                  </a:cubicBezTo>
                  <a:cubicBezTo>
                    <a:pt x="131" y="96"/>
                    <a:pt x="123" y="87"/>
                    <a:pt x="112" y="87"/>
                  </a:cubicBezTo>
                  <a:cubicBezTo>
                    <a:pt x="106" y="87"/>
                    <a:pt x="101" y="90"/>
                    <a:pt x="97" y="95"/>
                  </a:cubicBezTo>
                  <a:cubicBezTo>
                    <a:pt x="97" y="96"/>
                    <a:pt x="97" y="96"/>
                    <a:pt x="97" y="96"/>
                  </a:cubicBezTo>
                  <a:cubicBezTo>
                    <a:pt x="38" y="65"/>
                    <a:pt x="38" y="65"/>
                    <a:pt x="38" y="65"/>
                  </a:cubicBezTo>
                  <a:cubicBezTo>
                    <a:pt x="38" y="64"/>
                    <a:pt x="38" y="64"/>
                    <a:pt x="38" y="64"/>
                  </a:cubicBezTo>
                  <a:cubicBezTo>
                    <a:pt x="38" y="64"/>
                    <a:pt x="38" y="63"/>
                    <a:pt x="38" y="62"/>
                  </a:cubicBezTo>
                  <a:cubicBezTo>
                    <a:pt x="38" y="62"/>
                    <a:pt x="38" y="61"/>
                    <a:pt x="38" y="60"/>
                  </a:cubicBezTo>
                  <a:cubicBezTo>
                    <a:pt x="38" y="60"/>
                    <a:pt x="38" y="60"/>
                    <a:pt x="38" y="60"/>
                  </a:cubicBezTo>
                  <a:cubicBezTo>
                    <a:pt x="97" y="29"/>
                    <a:pt x="97" y="29"/>
                    <a:pt x="97" y="29"/>
                  </a:cubicBezTo>
                  <a:cubicBezTo>
                    <a:pt x="97" y="29"/>
                    <a:pt x="97" y="29"/>
                    <a:pt x="97" y="29"/>
                  </a:cubicBezTo>
                  <a:cubicBezTo>
                    <a:pt x="101" y="34"/>
                    <a:pt x="106" y="37"/>
                    <a:pt x="112" y="37"/>
                  </a:cubicBezTo>
                  <a:cubicBezTo>
                    <a:pt x="123" y="37"/>
                    <a:pt x="131" y="29"/>
                    <a:pt x="131" y="18"/>
                  </a:cubicBezTo>
                  <a:cubicBezTo>
                    <a:pt x="131" y="8"/>
                    <a:pt x="123" y="0"/>
                    <a:pt x="112" y="0"/>
                  </a:cubicBezTo>
                  <a:cubicBezTo>
                    <a:pt x="102" y="0"/>
                    <a:pt x="94" y="8"/>
                    <a:pt x="94" y="18"/>
                  </a:cubicBezTo>
                  <a:cubicBezTo>
                    <a:pt x="94" y="19"/>
                    <a:pt x="94" y="20"/>
                    <a:pt x="94" y="21"/>
                  </a:cubicBezTo>
                  <a:cubicBezTo>
                    <a:pt x="94" y="21"/>
                    <a:pt x="94" y="21"/>
                    <a:pt x="94" y="21"/>
                  </a:cubicBezTo>
                  <a:cubicBezTo>
                    <a:pt x="35" y="52"/>
                    <a:pt x="35" y="52"/>
                    <a:pt x="35" y="52"/>
                  </a:cubicBezTo>
                  <a:cubicBezTo>
                    <a:pt x="34" y="52"/>
                    <a:pt x="34" y="52"/>
                    <a:pt x="34" y="52"/>
                  </a:cubicBezTo>
                  <a:cubicBezTo>
                    <a:pt x="31" y="47"/>
                    <a:pt x="25" y="44"/>
                    <a:pt x="19" y="44"/>
                  </a:cubicBezTo>
                  <a:cubicBezTo>
                    <a:pt x="9" y="44"/>
                    <a:pt x="0" y="52"/>
                    <a:pt x="0" y="62"/>
                  </a:cubicBezTo>
                  <a:cubicBezTo>
                    <a:pt x="0" y="73"/>
                    <a:pt x="9" y="81"/>
                    <a:pt x="19" y="81"/>
                  </a:cubicBezTo>
                  <a:cubicBezTo>
                    <a:pt x="25" y="81"/>
                    <a:pt x="31" y="78"/>
                    <a:pt x="34" y="73"/>
                  </a:cubicBezTo>
                  <a:cubicBezTo>
                    <a:pt x="35" y="73"/>
                    <a:pt x="35" y="73"/>
                    <a:pt x="35" y="73"/>
                  </a:cubicBezTo>
                  <a:cubicBezTo>
                    <a:pt x="94" y="104"/>
                    <a:pt x="94" y="104"/>
                    <a:pt x="94" y="104"/>
                  </a:cubicBezTo>
                  <a:cubicBezTo>
                    <a:pt x="94" y="104"/>
                    <a:pt x="94" y="104"/>
                    <a:pt x="94" y="104"/>
                  </a:cubicBezTo>
                  <a:cubicBezTo>
                    <a:pt x="94" y="105"/>
                    <a:pt x="94" y="106"/>
                    <a:pt x="94" y="106"/>
                  </a:cubicBezTo>
                  <a:close/>
                  <a:moveTo>
                    <a:pt x="112" y="96"/>
                  </a:moveTo>
                  <a:cubicBezTo>
                    <a:pt x="118" y="96"/>
                    <a:pt x="123" y="100"/>
                    <a:pt x="123" y="106"/>
                  </a:cubicBezTo>
                  <a:cubicBezTo>
                    <a:pt x="123" y="112"/>
                    <a:pt x="118" y="117"/>
                    <a:pt x="112" y="117"/>
                  </a:cubicBezTo>
                  <a:cubicBezTo>
                    <a:pt x="107" y="117"/>
                    <a:pt x="102" y="112"/>
                    <a:pt x="102" y="106"/>
                  </a:cubicBezTo>
                  <a:cubicBezTo>
                    <a:pt x="102" y="100"/>
                    <a:pt x="107" y="96"/>
                    <a:pt x="112" y="96"/>
                  </a:cubicBezTo>
                  <a:close/>
                  <a:moveTo>
                    <a:pt x="112" y="8"/>
                  </a:moveTo>
                  <a:cubicBezTo>
                    <a:pt x="118" y="8"/>
                    <a:pt x="123" y="13"/>
                    <a:pt x="123" y="18"/>
                  </a:cubicBezTo>
                  <a:cubicBezTo>
                    <a:pt x="123" y="24"/>
                    <a:pt x="118" y="29"/>
                    <a:pt x="112" y="29"/>
                  </a:cubicBezTo>
                  <a:cubicBezTo>
                    <a:pt x="107" y="29"/>
                    <a:pt x="102" y="24"/>
                    <a:pt x="102" y="18"/>
                  </a:cubicBezTo>
                  <a:cubicBezTo>
                    <a:pt x="102" y="13"/>
                    <a:pt x="107" y="8"/>
                    <a:pt x="112" y="8"/>
                  </a:cubicBezTo>
                  <a:close/>
                  <a:moveTo>
                    <a:pt x="19" y="73"/>
                  </a:moveTo>
                  <a:cubicBezTo>
                    <a:pt x="13" y="73"/>
                    <a:pt x="9" y="68"/>
                    <a:pt x="9" y="62"/>
                  </a:cubicBezTo>
                  <a:cubicBezTo>
                    <a:pt x="9" y="57"/>
                    <a:pt x="13" y="52"/>
                    <a:pt x="19" y="52"/>
                  </a:cubicBezTo>
                  <a:cubicBezTo>
                    <a:pt x="25" y="52"/>
                    <a:pt x="30" y="57"/>
                    <a:pt x="30" y="62"/>
                  </a:cubicBezTo>
                  <a:cubicBezTo>
                    <a:pt x="30" y="68"/>
                    <a:pt x="25" y="73"/>
                    <a:pt x="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grpSp>
      <p:sp>
        <p:nvSpPr>
          <p:cNvPr id="38" name="Rektangel 37"/>
          <p:cNvSpPr/>
          <p:nvPr/>
        </p:nvSpPr>
        <p:spPr>
          <a:xfrm>
            <a:off x="1916022" y="2141135"/>
            <a:ext cx="7000999" cy="461665"/>
          </a:xfrm>
          <a:prstGeom prst="rect">
            <a:avLst/>
          </a:prstGeom>
        </p:spPr>
        <p:txBody>
          <a:bodyPr wrap="square">
            <a:spAutoFit/>
          </a:bodyPr>
          <a:lstStyle/>
          <a:p>
            <a:pPr lvl="0"/>
            <a:r>
              <a:rPr lang="nb-NO" sz="1200" b="1">
                <a:solidFill>
                  <a:schemeClr val="accent1"/>
                </a:solidFill>
              </a:rPr>
              <a:t>Deling av informasjon med økosystemer</a:t>
            </a:r>
          </a:p>
          <a:p>
            <a:pPr lvl="0"/>
            <a:r>
              <a:rPr lang="nb-NO" sz="1200"/>
              <a:t>Samhandlingsevne og bedre tjenester ved gjenbruk og viderebruk</a:t>
            </a:r>
          </a:p>
        </p:txBody>
      </p:sp>
      <p:sp>
        <p:nvSpPr>
          <p:cNvPr id="39" name="Rektangel 38"/>
          <p:cNvSpPr/>
          <p:nvPr/>
        </p:nvSpPr>
        <p:spPr>
          <a:xfrm>
            <a:off x="1916022" y="1314589"/>
            <a:ext cx="7000999" cy="461665"/>
          </a:xfrm>
          <a:prstGeom prst="rect">
            <a:avLst/>
          </a:prstGeom>
        </p:spPr>
        <p:txBody>
          <a:bodyPr wrap="square">
            <a:spAutoFit/>
          </a:bodyPr>
          <a:lstStyle/>
          <a:p>
            <a:pPr lvl="0"/>
            <a:r>
              <a:rPr lang="nb-NO" sz="1200" b="1">
                <a:solidFill>
                  <a:schemeClr val="accent1"/>
                </a:solidFill>
              </a:rPr>
              <a:t>RBT</a:t>
            </a:r>
          </a:p>
          <a:p>
            <a:pPr lvl="0"/>
            <a:r>
              <a:rPr lang="nb-NO" sz="1200"/>
              <a:t>Beslutningsstøtte og prediksjoner</a:t>
            </a:r>
          </a:p>
        </p:txBody>
      </p:sp>
      <p:sp>
        <p:nvSpPr>
          <p:cNvPr id="40" name="Rektangel 39"/>
          <p:cNvSpPr/>
          <p:nvPr/>
        </p:nvSpPr>
        <p:spPr>
          <a:xfrm>
            <a:off x="1916022" y="2914680"/>
            <a:ext cx="7000999" cy="461665"/>
          </a:xfrm>
          <a:prstGeom prst="rect">
            <a:avLst/>
          </a:prstGeom>
        </p:spPr>
        <p:txBody>
          <a:bodyPr wrap="square">
            <a:spAutoFit/>
          </a:bodyPr>
          <a:lstStyle/>
          <a:p>
            <a:pPr lvl="0"/>
            <a:r>
              <a:rPr lang="nb-NO" sz="1200" b="1" err="1">
                <a:solidFill>
                  <a:schemeClr val="accent1"/>
                </a:solidFill>
              </a:rPr>
              <a:t>Tax</a:t>
            </a:r>
            <a:r>
              <a:rPr lang="nb-NO" sz="1200" b="1">
                <a:solidFill>
                  <a:schemeClr val="accent1"/>
                </a:solidFill>
              </a:rPr>
              <a:t> 2030: Digitale økosystemer</a:t>
            </a:r>
          </a:p>
          <a:p>
            <a:pPr lvl="0"/>
            <a:r>
              <a:rPr lang="nb-NO" sz="1200"/>
              <a:t>Etterlevelse ved hendelsesbasert samhandling i sanntid</a:t>
            </a:r>
          </a:p>
        </p:txBody>
      </p:sp>
      <p:sp>
        <p:nvSpPr>
          <p:cNvPr id="41" name="Rektangel 40"/>
          <p:cNvSpPr/>
          <p:nvPr/>
        </p:nvSpPr>
        <p:spPr>
          <a:xfrm>
            <a:off x="1916022" y="3713565"/>
            <a:ext cx="7000999" cy="461665"/>
          </a:xfrm>
          <a:prstGeom prst="rect">
            <a:avLst/>
          </a:prstGeom>
        </p:spPr>
        <p:txBody>
          <a:bodyPr wrap="square">
            <a:spAutoFit/>
          </a:bodyPr>
          <a:lstStyle/>
          <a:p>
            <a:pPr lvl="0"/>
            <a:r>
              <a:rPr lang="nb-NO" sz="1200" b="1">
                <a:solidFill>
                  <a:schemeClr val="accent1"/>
                </a:solidFill>
              </a:rPr>
              <a:t>Virksomhetsstyring- og utvikling</a:t>
            </a:r>
          </a:p>
          <a:p>
            <a:pPr lvl="0"/>
            <a:r>
              <a:rPr lang="nb-NO" sz="1200"/>
              <a:t>Operativ styringsinformasjon og innsikt til strategisk utvikling</a:t>
            </a:r>
          </a:p>
        </p:txBody>
      </p:sp>
    </p:spTree>
    <p:extLst>
      <p:ext uri="{BB962C8B-B14F-4D97-AF65-F5344CB8AC3E}">
        <p14:creationId xmlns:p14="http://schemas.microsoft.com/office/powerpoint/2010/main" val="123310785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Plassholder for innhold 2">
            <a:extLst>
              <a:ext uri="{FF2B5EF4-FFF2-40B4-BE49-F238E27FC236}">
                <a16:creationId xmlns:a16="http://schemas.microsoft.com/office/drawing/2014/main" id="{A6F3570C-563A-47F0-8497-92F2AAF6796E}"/>
              </a:ext>
            </a:extLst>
          </p:cNvPr>
          <p:cNvSpPr>
            <a:spLocks noGrp="1"/>
          </p:cNvSpPr>
          <p:nvPr>
            <p:ph idx="4294967295"/>
          </p:nvPr>
        </p:nvSpPr>
        <p:spPr>
          <a:xfrm>
            <a:off x="357677" y="1141462"/>
            <a:ext cx="5414129" cy="3638677"/>
          </a:xfrm>
          <a:ln>
            <a:noFill/>
          </a:ln>
        </p:spPr>
        <p:txBody>
          <a:bodyPr vert="horz" lIns="53633" tIns="53633" rIns="0" bIns="0" rtlCol="0" anchor="t">
            <a:normAutofit/>
          </a:bodyPr>
          <a:lstStyle/>
          <a:p>
            <a:pPr marL="168865" indent="-168865"/>
            <a:r>
              <a:rPr lang="nb-NO" dirty="0">
                <a:solidFill>
                  <a:srgbClr val="000000"/>
                </a:solidFill>
                <a:ea typeface="+mn-lt"/>
                <a:cs typeface="Arial"/>
              </a:rPr>
              <a:t>Datasentriske </a:t>
            </a:r>
            <a:r>
              <a:rPr lang="nb-NO" dirty="0" smtClean="0">
                <a:solidFill>
                  <a:srgbClr val="000000"/>
                </a:solidFill>
                <a:ea typeface="+mn-lt"/>
                <a:cs typeface="Arial"/>
              </a:rPr>
              <a:t>produkter (fagområder)</a:t>
            </a:r>
            <a:endParaRPr lang="nb-NO" dirty="0">
              <a:solidFill>
                <a:srgbClr val="000000"/>
              </a:solidFill>
              <a:ea typeface="+mn-lt"/>
              <a:cs typeface="Arial"/>
            </a:endParaRPr>
          </a:p>
          <a:p>
            <a:pPr marL="168865" indent="-168865"/>
            <a:r>
              <a:rPr lang="nb-NO" dirty="0" smtClean="0">
                <a:solidFill>
                  <a:srgbClr val="000000"/>
                </a:solidFill>
                <a:ea typeface="+mn-lt"/>
                <a:cs typeface="Arial"/>
              </a:rPr>
              <a:t>Produktledelse </a:t>
            </a:r>
            <a:r>
              <a:rPr lang="nb-NO" dirty="0">
                <a:solidFill>
                  <a:srgbClr val="000000"/>
                </a:solidFill>
                <a:ea typeface="+mn-lt"/>
                <a:cs typeface="Arial"/>
              </a:rPr>
              <a:t>som forvaltningsmodell</a:t>
            </a:r>
            <a:endParaRPr lang="nb-NO" dirty="0">
              <a:solidFill>
                <a:srgbClr val="000000"/>
              </a:solidFill>
              <a:ea typeface="+mn-lt"/>
              <a:cs typeface="+mn-lt"/>
            </a:endParaRPr>
          </a:p>
          <a:p>
            <a:pPr marL="168865" indent="-168865"/>
            <a:r>
              <a:rPr lang="nb-NO" dirty="0">
                <a:solidFill>
                  <a:srgbClr val="000000"/>
                </a:solidFill>
                <a:ea typeface="+mn-lt"/>
                <a:cs typeface="Arial"/>
              </a:rPr>
              <a:t>Bedre prosesser for styring og forvaltning</a:t>
            </a:r>
          </a:p>
          <a:p>
            <a:pPr marL="504678" lvl="1" indent="-168865"/>
            <a:r>
              <a:rPr lang="nb-NO" dirty="0">
                <a:solidFill>
                  <a:srgbClr val="000000"/>
                </a:solidFill>
                <a:ea typeface="+mn-lt"/>
                <a:cs typeface="Arial"/>
              </a:rPr>
              <a:t>Standardisering</a:t>
            </a:r>
          </a:p>
          <a:p>
            <a:pPr marL="504678" lvl="1" indent="-168865"/>
            <a:r>
              <a:rPr lang="nb-NO" dirty="0">
                <a:solidFill>
                  <a:srgbClr val="000000"/>
                </a:solidFill>
                <a:ea typeface="+mn-lt"/>
                <a:cs typeface="Arial"/>
              </a:rPr>
              <a:t>Informasjonsarkitektur</a:t>
            </a:r>
          </a:p>
          <a:p>
            <a:pPr marL="504678" lvl="1" indent="-168865"/>
            <a:r>
              <a:rPr lang="nb-NO" dirty="0">
                <a:solidFill>
                  <a:srgbClr val="000000"/>
                </a:solidFill>
                <a:ea typeface="+mn-lt"/>
                <a:cs typeface="Arial"/>
              </a:rPr>
              <a:t>Datakvalitet</a:t>
            </a:r>
          </a:p>
          <a:p>
            <a:pPr marL="504678" lvl="1" indent="-168865"/>
            <a:r>
              <a:rPr lang="nb-NO" dirty="0">
                <a:solidFill>
                  <a:srgbClr val="000000"/>
                </a:solidFill>
                <a:ea typeface="+mn-lt"/>
                <a:cs typeface="Arial"/>
              </a:rPr>
              <a:t>Regulatoriske krav</a:t>
            </a:r>
          </a:p>
          <a:p>
            <a:pPr marL="168865" indent="-168865"/>
            <a:endParaRPr lang="nb-NO" dirty="0"/>
          </a:p>
          <a:p>
            <a:pPr marL="168865" indent="-168865"/>
            <a:r>
              <a:rPr lang="nb-NO" dirty="0">
                <a:cs typeface="Arial"/>
              </a:rPr>
              <a:t>De to viktige utviklingstiltakene for etaten fremover</a:t>
            </a:r>
          </a:p>
          <a:p>
            <a:pPr marL="506595" lvl="1" indent="-168865"/>
            <a:r>
              <a:rPr lang="nb-NO" sz="1490" dirty="0">
                <a:cs typeface="Arial"/>
              </a:rPr>
              <a:t>Fremtidens innkreving</a:t>
            </a:r>
          </a:p>
          <a:p>
            <a:pPr marL="506595" lvl="1" indent="-168865"/>
            <a:r>
              <a:rPr lang="nb-NO" sz="1490" dirty="0">
                <a:cs typeface="Arial"/>
              </a:rPr>
              <a:t>Informasjons- og </a:t>
            </a:r>
            <a:r>
              <a:rPr lang="nb-NO" sz="1490" dirty="0" smtClean="0">
                <a:cs typeface="Arial"/>
              </a:rPr>
              <a:t>analyseplattform</a:t>
            </a:r>
            <a:endParaRPr lang="nb-NO" sz="1490" dirty="0">
              <a:cs typeface="Arial"/>
            </a:endParaRPr>
          </a:p>
          <a:p>
            <a:pPr marL="170782" indent="-168865"/>
            <a:endParaRPr lang="nb-NO" sz="2024" dirty="0">
              <a:cs typeface="Arial"/>
            </a:endParaRPr>
          </a:p>
          <a:p>
            <a:pPr marL="506595" lvl="1" indent="-168865"/>
            <a:endParaRPr lang="nb-NO" sz="1788" dirty="0">
              <a:cs typeface="Arial"/>
            </a:endParaRPr>
          </a:p>
        </p:txBody>
      </p:sp>
      <p:sp>
        <p:nvSpPr>
          <p:cNvPr id="24" name="Tittel 1">
            <a:extLst>
              <a:ext uri="{FF2B5EF4-FFF2-40B4-BE49-F238E27FC236}">
                <a16:creationId xmlns:a16="http://schemas.microsoft.com/office/drawing/2014/main" id="{817DDD3D-2E62-4C4B-A176-A07A98DB51E0}"/>
              </a:ext>
            </a:extLst>
          </p:cNvPr>
          <p:cNvSpPr>
            <a:spLocks noGrp="1"/>
          </p:cNvSpPr>
          <p:nvPr>
            <p:ph type="title" idx="4294967295"/>
          </p:nvPr>
        </p:nvSpPr>
        <p:spPr>
          <a:xfrm>
            <a:off x="1028617" y="302937"/>
            <a:ext cx="8365292" cy="346484"/>
          </a:xfrm>
        </p:spPr>
        <p:txBody>
          <a:bodyPr>
            <a:normAutofit/>
          </a:bodyPr>
          <a:lstStyle/>
          <a:p>
            <a:r>
              <a:rPr lang="nb-NO" sz="2086"/>
              <a:t>Vi beveger oss i riktig retning, men det er ikke nok…</a:t>
            </a:r>
          </a:p>
        </p:txBody>
      </p:sp>
      <p:grpSp>
        <p:nvGrpSpPr>
          <p:cNvPr id="18" name="Gruppe 17">
            <a:extLst>
              <a:ext uri="{FF2B5EF4-FFF2-40B4-BE49-F238E27FC236}">
                <a16:creationId xmlns:a16="http://schemas.microsoft.com/office/drawing/2014/main" id="{5D550464-756E-447E-8427-A66B3A254C7E}"/>
              </a:ext>
            </a:extLst>
          </p:cNvPr>
          <p:cNvGrpSpPr/>
          <p:nvPr/>
        </p:nvGrpSpPr>
        <p:grpSpPr>
          <a:xfrm>
            <a:off x="5677232" y="1236253"/>
            <a:ext cx="3436520" cy="3097207"/>
            <a:chOff x="6042590" y="1553055"/>
            <a:chExt cx="4400297" cy="4089155"/>
          </a:xfrm>
        </p:grpSpPr>
        <p:sp>
          <p:nvSpPr>
            <p:cNvPr id="19" name="Delvis sirkel 20">
              <a:extLst>
                <a:ext uri="{FF2B5EF4-FFF2-40B4-BE49-F238E27FC236}">
                  <a16:creationId xmlns:a16="http://schemas.microsoft.com/office/drawing/2014/main" id="{140E1F0B-BEF0-4384-972D-16EF570E8114}"/>
                </a:ext>
              </a:extLst>
            </p:cNvPr>
            <p:cNvSpPr/>
            <p:nvPr/>
          </p:nvSpPr>
          <p:spPr>
            <a:xfrm rot="7219304">
              <a:off x="7212695" y="1085595"/>
              <a:ext cx="1839322" cy="2774242"/>
            </a:xfrm>
            <a:custGeom>
              <a:avLst/>
              <a:gdLst>
                <a:gd name="connsiteX0" fmla="*/ 1840183 w 3701612"/>
                <a:gd name="connsiteY0" fmla="*/ 3701582 h 3701612"/>
                <a:gd name="connsiteX1" fmla="*/ 245868 w 3701612"/>
                <a:gd name="connsiteY1" fmla="*/ 2772575 h 3701612"/>
                <a:gd name="connsiteX2" fmla="*/ 246845 w 3701612"/>
                <a:gd name="connsiteY2" fmla="*/ 927340 h 3701612"/>
                <a:gd name="connsiteX3" fmla="*/ 1850806 w 3701612"/>
                <a:gd name="connsiteY3" fmla="*/ 1850806 h 3701612"/>
                <a:gd name="connsiteX4" fmla="*/ 1840183 w 3701612"/>
                <a:gd name="connsiteY4" fmla="*/ 3701582 h 3701612"/>
                <a:gd name="connsiteX0" fmla="*/ 1777622 w 1788245"/>
                <a:gd name="connsiteY0" fmla="*/ 2774242 h 2774242"/>
                <a:gd name="connsiteX1" fmla="*/ 183307 w 1788245"/>
                <a:gd name="connsiteY1" fmla="*/ 1845235 h 2774242"/>
                <a:gd name="connsiteX2" fmla="*/ 184284 w 1788245"/>
                <a:gd name="connsiteY2" fmla="*/ 0 h 2774242"/>
                <a:gd name="connsiteX3" fmla="*/ 1053489 w 1788245"/>
                <a:gd name="connsiteY3" fmla="*/ 493210 h 2774242"/>
                <a:gd name="connsiteX4" fmla="*/ 1788245 w 1788245"/>
                <a:gd name="connsiteY4" fmla="*/ 923466 h 2774242"/>
                <a:gd name="connsiteX5" fmla="*/ 1777622 w 1788245"/>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1053489 w 1783483"/>
                <a:gd name="connsiteY3" fmla="*/ 493210 h 2774242"/>
                <a:gd name="connsiteX4" fmla="*/ 1783483 w 1783483"/>
                <a:gd name="connsiteY4" fmla="*/ 1842628 h 2774242"/>
                <a:gd name="connsiteX5" fmla="*/ 1777622 w 1783483"/>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986814 w 1783483"/>
                <a:gd name="connsiteY3" fmla="*/ 474160 h 2774242"/>
                <a:gd name="connsiteX4" fmla="*/ 1783483 w 1783483"/>
                <a:gd name="connsiteY4" fmla="*/ 1842628 h 2774242"/>
                <a:gd name="connsiteX5" fmla="*/ 1777622 w 1783483"/>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86814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814826 w 1821359"/>
                <a:gd name="connsiteY0" fmla="*/ 2774242 h 2774242"/>
                <a:gd name="connsiteX1" fmla="*/ 220511 w 1821359"/>
                <a:gd name="connsiteY1" fmla="*/ 1845235 h 2774242"/>
                <a:gd name="connsiteX2" fmla="*/ 221488 w 1821359"/>
                <a:gd name="connsiteY2" fmla="*/ 0 h 2774242"/>
                <a:gd name="connsiteX3" fmla="*/ 1009769 w 1821359"/>
                <a:gd name="connsiteY3" fmla="*/ 474160 h 2774242"/>
                <a:gd name="connsiteX4" fmla="*/ 1820687 w 1821359"/>
                <a:gd name="connsiteY4" fmla="*/ 1842628 h 2774242"/>
                <a:gd name="connsiteX5" fmla="*/ 1814826 w 1821359"/>
                <a:gd name="connsiteY5" fmla="*/ 2774242 h 2774242"/>
                <a:gd name="connsiteX0" fmla="*/ 1823274 w 1829807"/>
                <a:gd name="connsiteY0" fmla="*/ 2774242 h 2774242"/>
                <a:gd name="connsiteX1" fmla="*/ 228959 w 1829807"/>
                <a:gd name="connsiteY1" fmla="*/ 1845235 h 2774242"/>
                <a:gd name="connsiteX2" fmla="*/ 229936 w 1829807"/>
                <a:gd name="connsiteY2" fmla="*/ 0 h 2774242"/>
                <a:gd name="connsiteX3" fmla="*/ 1018217 w 1829807"/>
                <a:gd name="connsiteY3" fmla="*/ 474160 h 2774242"/>
                <a:gd name="connsiteX4" fmla="*/ 1829135 w 1829807"/>
                <a:gd name="connsiteY4" fmla="*/ 1842628 h 2774242"/>
                <a:gd name="connsiteX5" fmla="*/ 1823274 w 1829807"/>
                <a:gd name="connsiteY5" fmla="*/ 2774242 h 2774242"/>
                <a:gd name="connsiteX0" fmla="*/ 1830175 w 1836708"/>
                <a:gd name="connsiteY0" fmla="*/ 2774242 h 2774242"/>
                <a:gd name="connsiteX1" fmla="*/ 235860 w 1836708"/>
                <a:gd name="connsiteY1" fmla="*/ 1845235 h 2774242"/>
                <a:gd name="connsiteX2" fmla="*/ 236837 w 1836708"/>
                <a:gd name="connsiteY2" fmla="*/ 0 h 2774242"/>
                <a:gd name="connsiteX3" fmla="*/ 1025118 w 1836708"/>
                <a:gd name="connsiteY3" fmla="*/ 474160 h 2774242"/>
                <a:gd name="connsiteX4" fmla="*/ 1836036 w 1836708"/>
                <a:gd name="connsiteY4" fmla="*/ 1842628 h 2774242"/>
                <a:gd name="connsiteX5" fmla="*/ 1830175 w 1836708"/>
                <a:gd name="connsiteY5" fmla="*/ 2774242 h 2774242"/>
                <a:gd name="connsiteX0" fmla="*/ 1824989 w 1831522"/>
                <a:gd name="connsiteY0" fmla="*/ 2774242 h 2774242"/>
                <a:gd name="connsiteX1" fmla="*/ 230674 w 1831522"/>
                <a:gd name="connsiteY1" fmla="*/ 1845235 h 2774242"/>
                <a:gd name="connsiteX2" fmla="*/ 231651 w 1831522"/>
                <a:gd name="connsiteY2" fmla="*/ 0 h 2774242"/>
                <a:gd name="connsiteX3" fmla="*/ 1019932 w 1831522"/>
                <a:gd name="connsiteY3" fmla="*/ 474160 h 2774242"/>
                <a:gd name="connsiteX4" fmla="*/ 1830850 w 1831522"/>
                <a:gd name="connsiteY4" fmla="*/ 1842628 h 2774242"/>
                <a:gd name="connsiteX5" fmla="*/ 1824989 w 1831522"/>
                <a:gd name="connsiteY5" fmla="*/ 2774242 h 2774242"/>
                <a:gd name="connsiteX0" fmla="*/ 1842527 w 1849060"/>
                <a:gd name="connsiteY0" fmla="*/ 2774242 h 2774242"/>
                <a:gd name="connsiteX1" fmla="*/ 248212 w 1849060"/>
                <a:gd name="connsiteY1" fmla="*/ 1845235 h 2774242"/>
                <a:gd name="connsiteX2" fmla="*/ 249189 w 1849060"/>
                <a:gd name="connsiteY2" fmla="*/ 0 h 2774242"/>
                <a:gd name="connsiteX3" fmla="*/ 1037470 w 1849060"/>
                <a:gd name="connsiteY3" fmla="*/ 474160 h 2774242"/>
                <a:gd name="connsiteX4" fmla="*/ 1848388 w 1849060"/>
                <a:gd name="connsiteY4" fmla="*/ 1842628 h 2774242"/>
                <a:gd name="connsiteX5" fmla="*/ 1842527 w 1849060"/>
                <a:gd name="connsiteY5" fmla="*/ 2774242 h 2774242"/>
                <a:gd name="connsiteX0" fmla="*/ 1826710 w 1833243"/>
                <a:gd name="connsiteY0" fmla="*/ 2774242 h 2774242"/>
                <a:gd name="connsiteX1" fmla="*/ 232395 w 1833243"/>
                <a:gd name="connsiteY1" fmla="*/ 1845235 h 2774242"/>
                <a:gd name="connsiteX2" fmla="*/ 233372 w 1833243"/>
                <a:gd name="connsiteY2" fmla="*/ 0 h 2774242"/>
                <a:gd name="connsiteX3" fmla="*/ 1021653 w 1833243"/>
                <a:gd name="connsiteY3" fmla="*/ 474160 h 2774242"/>
                <a:gd name="connsiteX4" fmla="*/ 1832571 w 1833243"/>
                <a:gd name="connsiteY4" fmla="*/ 1842628 h 2774242"/>
                <a:gd name="connsiteX5" fmla="*/ 1826710 w 1833243"/>
                <a:gd name="connsiteY5" fmla="*/ 2774242 h 2774242"/>
                <a:gd name="connsiteX0" fmla="*/ 1831919 w 1838452"/>
                <a:gd name="connsiteY0" fmla="*/ 2774242 h 2774242"/>
                <a:gd name="connsiteX1" fmla="*/ 237604 w 1838452"/>
                <a:gd name="connsiteY1" fmla="*/ 1845235 h 2774242"/>
                <a:gd name="connsiteX2" fmla="*/ 238581 w 1838452"/>
                <a:gd name="connsiteY2" fmla="*/ 0 h 2774242"/>
                <a:gd name="connsiteX3" fmla="*/ 1026862 w 1838452"/>
                <a:gd name="connsiteY3" fmla="*/ 474160 h 2774242"/>
                <a:gd name="connsiteX4" fmla="*/ 1837780 w 1838452"/>
                <a:gd name="connsiteY4" fmla="*/ 1842628 h 2774242"/>
                <a:gd name="connsiteX5" fmla="*/ 1831919 w 1838452"/>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424" h="2774242">
                  <a:moveTo>
                    <a:pt x="1831919" y="2774242"/>
                  </a:moveTo>
                  <a:cubicBezTo>
                    <a:pt x="1172997" y="2770460"/>
                    <a:pt x="565776" y="2416633"/>
                    <a:pt x="237604" y="1845235"/>
                  </a:cubicBezTo>
                  <a:cubicBezTo>
                    <a:pt x="-90568" y="1273837"/>
                    <a:pt x="-67942" y="549187"/>
                    <a:pt x="238581" y="0"/>
                  </a:cubicBezTo>
                  <a:cubicBezTo>
                    <a:pt x="501341" y="158053"/>
                    <a:pt x="654856" y="244669"/>
                    <a:pt x="1026862" y="474160"/>
                  </a:cubicBezTo>
                  <a:cubicBezTo>
                    <a:pt x="1295585" y="930316"/>
                    <a:pt x="1564307" y="1405523"/>
                    <a:pt x="1833030" y="1842628"/>
                  </a:cubicBezTo>
                  <a:cubicBezTo>
                    <a:pt x="1835826" y="2362716"/>
                    <a:pt x="1833873" y="2463704"/>
                    <a:pt x="1831919" y="2774242"/>
                  </a:cubicBezTo>
                  <a:close/>
                </a:path>
              </a:pathLst>
            </a:custGeom>
            <a:solidFill>
              <a:srgbClr val="E5E5E5"/>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1137"/>
              <a:endParaRPr lang="nb-NO" sz="1341">
                <a:solidFill>
                  <a:prstClr val="black"/>
                </a:solidFill>
                <a:latin typeface="Arial" panose="020B0604020202020204"/>
              </a:endParaRPr>
            </a:p>
          </p:txBody>
        </p:sp>
        <p:sp>
          <p:nvSpPr>
            <p:cNvPr id="20" name="Delvis sirkel 20">
              <a:extLst>
                <a:ext uri="{FF2B5EF4-FFF2-40B4-BE49-F238E27FC236}">
                  <a16:creationId xmlns:a16="http://schemas.microsoft.com/office/drawing/2014/main" id="{C8B81EF1-7597-4151-9AFE-518A3AF5FF2C}"/>
                </a:ext>
              </a:extLst>
            </p:cNvPr>
            <p:cNvSpPr/>
            <p:nvPr/>
          </p:nvSpPr>
          <p:spPr>
            <a:xfrm>
              <a:off x="6042590" y="2867968"/>
              <a:ext cx="1843361" cy="2774242"/>
            </a:xfrm>
            <a:custGeom>
              <a:avLst/>
              <a:gdLst>
                <a:gd name="connsiteX0" fmla="*/ 1840183 w 3701612"/>
                <a:gd name="connsiteY0" fmla="*/ 3701582 h 3701612"/>
                <a:gd name="connsiteX1" fmla="*/ 245868 w 3701612"/>
                <a:gd name="connsiteY1" fmla="*/ 2772575 h 3701612"/>
                <a:gd name="connsiteX2" fmla="*/ 246845 w 3701612"/>
                <a:gd name="connsiteY2" fmla="*/ 927340 h 3701612"/>
                <a:gd name="connsiteX3" fmla="*/ 1850806 w 3701612"/>
                <a:gd name="connsiteY3" fmla="*/ 1850806 h 3701612"/>
                <a:gd name="connsiteX4" fmla="*/ 1840183 w 3701612"/>
                <a:gd name="connsiteY4" fmla="*/ 3701582 h 3701612"/>
                <a:gd name="connsiteX0" fmla="*/ 1777622 w 1788245"/>
                <a:gd name="connsiteY0" fmla="*/ 2774242 h 2774242"/>
                <a:gd name="connsiteX1" fmla="*/ 183307 w 1788245"/>
                <a:gd name="connsiteY1" fmla="*/ 1845235 h 2774242"/>
                <a:gd name="connsiteX2" fmla="*/ 184284 w 1788245"/>
                <a:gd name="connsiteY2" fmla="*/ 0 h 2774242"/>
                <a:gd name="connsiteX3" fmla="*/ 1053489 w 1788245"/>
                <a:gd name="connsiteY3" fmla="*/ 493210 h 2774242"/>
                <a:gd name="connsiteX4" fmla="*/ 1788245 w 1788245"/>
                <a:gd name="connsiteY4" fmla="*/ 923466 h 2774242"/>
                <a:gd name="connsiteX5" fmla="*/ 1777622 w 1788245"/>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1053489 w 1783483"/>
                <a:gd name="connsiteY3" fmla="*/ 493210 h 2774242"/>
                <a:gd name="connsiteX4" fmla="*/ 1783483 w 1783483"/>
                <a:gd name="connsiteY4" fmla="*/ 1842628 h 2774242"/>
                <a:gd name="connsiteX5" fmla="*/ 1777622 w 1783483"/>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986814 w 1783483"/>
                <a:gd name="connsiteY3" fmla="*/ 474160 h 2774242"/>
                <a:gd name="connsiteX4" fmla="*/ 1783483 w 1783483"/>
                <a:gd name="connsiteY4" fmla="*/ 1842628 h 2774242"/>
                <a:gd name="connsiteX5" fmla="*/ 1777622 w 1783483"/>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86814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814826 w 1821359"/>
                <a:gd name="connsiteY0" fmla="*/ 2774242 h 2774242"/>
                <a:gd name="connsiteX1" fmla="*/ 220511 w 1821359"/>
                <a:gd name="connsiteY1" fmla="*/ 1845235 h 2774242"/>
                <a:gd name="connsiteX2" fmla="*/ 221488 w 1821359"/>
                <a:gd name="connsiteY2" fmla="*/ 0 h 2774242"/>
                <a:gd name="connsiteX3" fmla="*/ 1009769 w 1821359"/>
                <a:gd name="connsiteY3" fmla="*/ 474160 h 2774242"/>
                <a:gd name="connsiteX4" fmla="*/ 1820687 w 1821359"/>
                <a:gd name="connsiteY4" fmla="*/ 1842628 h 2774242"/>
                <a:gd name="connsiteX5" fmla="*/ 1814826 w 1821359"/>
                <a:gd name="connsiteY5" fmla="*/ 2774242 h 2774242"/>
                <a:gd name="connsiteX0" fmla="*/ 1823274 w 1829807"/>
                <a:gd name="connsiteY0" fmla="*/ 2774242 h 2774242"/>
                <a:gd name="connsiteX1" fmla="*/ 228959 w 1829807"/>
                <a:gd name="connsiteY1" fmla="*/ 1845235 h 2774242"/>
                <a:gd name="connsiteX2" fmla="*/ 229936 w 1829807"/>
                <a:gd name="connsiteY2" fmla="*/ 0 h 2774242"/>
                <a:gd name="connsiteX3" fmla="*/ 1018217 w 1829807"/>
                <a:gd name="connsiteY3" fmla="*/ 474160 h 2774242"/>
                <a:gd name="connsiteX4" fmla="*/ 1829135 w 1829807"/>
                <a:gd name="connsiteY4" fmla="*/ 1842628 h 2774242"/>
                <a:gd name="connsiteX5" fmla="*/ 1823274 w 1829807"/>
                <a:gd name="connsiteY5" fmla="*/ 2774242 h 2774242"/>
                <a:gd name="connsiteX0" fmla="*/ 1830175 w 1836708"/>
                <a:gd name="connsiteY0" fmla="*/ 2774242 h 2774242"/>
                <a:gd name="connsiteX1" fmla="*/ 235860 w 1836708"/>
                <a:gd name="connsiteY1" fmla="*/ 1845235 h 2774242"/>
                <a:gd name="connsiteX2" fmla="*/ 236837 w 1836708"/>
                <a:gd name="connsiteY2" fmla="*/ 0 h 2774242"/>
                <a:gd name="connsiteX3" fmla="*/ 1025118 w 1836708"/>
                <a:gd name="connsiteY3" fmla="*/ 474160 h 2774242"/>
                <a:gd name="connsiteX4" fmla="*/ 1836036 w 1836708"/>
                <a:gd name="connsiteY4" fmla="*/ 1842628 h 2774242"/>
                <a:gd name="connsiteX5" fmla="*/ 1830175 w 1836708"/>
                <a:gd name="connsiteY5" fmla="*/ 2774242 h 2774242"/>
                <a:gd name="connsiteX0" fmla="*/ 1824989 w 1831522"/>
                <a:gd name="connsiteY0" fmla="*/ 2774242 h 2774242"/>
                <a:gd name="connsiteX1" fmla="*/ 230674 w 1831522"/>
                <a:gd name="connsiteY1" fmla="*/ 1845235 h 2774242"/>
                <a:gd name="connsiteX2" fmla="*/ 231651 w 1831522"/>
                <a:gd name="connsiteY2" fmla="*/ 0 h 2774242"/>
                <a:gd name="connsiteX3" fmla="*/ 1019932 w 1831522"/>
                <a:gd name="connsiteY3" fmla="*/ 474160 h 2774242"/>
                <a:gd name="connsiteX4" fmla="*/ 1830850 w 1831522"/>
                <a:gd name="connsiteY4" fmla="*/ 1842628 h 2774242"/>
                <a:gd name="connsiteX5" fmla="*/ 1824989 w 1831522"/>
                <a:gd name="connsiteY5" fmla="*/ 2774242 h 2774242"/>
                <a:gd name="connsiteX0" fmla="*/ 1842527 w 1849060"/>
                <a:gd name="connsiteY0" fmla="*/ 2774242 h 2774242"/>
                <a:gd name="connsiteX1" fmla="*/ 248212 w 1849060"/>
                <a:gd name="connsiteY1" fmla="*/ 1845235 h 2774242"/>
                <a:gd name="connsiteX2" fmla="*/ 249189 w 1849060"/>
                <a:gd name="connsiteY2" fmla="*/ 0 h 2774242"/>
                <a:gd name="connsiteX3" fmla="*/ 1037470 w 1849060"/>
                <a:gd name="connsiteY3" fmla="*/ 474160 h 2774242"/>
                <a:gd name="connsiteX4" fmla="*/ 1848388 w 1849060"/>
                <a:gd name="connsiteY4" fmla="*/ 1842628 h 2774242"/>
                <a:gd name="connsiteX5" fmla="*/ 1842527 w 1849060"/>
                <a:gd name="connsiteY5" fmla="*/ 2774242 h 2774242"/>
                <a:gd name="connsiteX0" fmla="*/ 1826710 w 1833243"/>
                <a:gd name="connsiteY0" fmla="*/ 2774242 h 2774242"/>
                <a:gd name="connsiteX1" fmla="*/ 232395 w 1833243"/>
                <a:gd name="connsiteY1" fmla="*/ 1845235 h 2774242"/>
                <a:gd name="connsiteX2" fmla="*/ 233372 w 1833243"/>
                <a:gd name="connsiteY2" fmla="*/ 0 h 2774242"/>
                <a:gd name="connsiteX3" fmla="*/ 1021653 w 1833243"/>
                <a:gd name="connsiteY3" fmla="*/ 474160 h 2774242"/>
                <a:gd name="connsiteX4" fmla="*/ 1832571 w 1833243"/>
                <a:gd name="connsiteY4" fmla="*/ 1842628 h 2774242"/>
                <a:gd name="connsiteX5" fmla="*/ 1826710 w 1833243"/>
                <a:gd name="connsiteY5" fmla="*/ 2774242 h 2774242"/>
                <a:gd name="connsiteX0" fmla="*/ 1831919 w 1838452"/>
                <a:gd name="connsiteY0" fmla="*/ 2774242 h 2774242"/>
                <a:gd name="connsiteX1" fmla="*/ 237604 w 1838452"/>
                <a:gd name="connsiteY1" fmla="*/ 1845235 h 2774242"/>
                <a:gd name="connsiteX2" fmla="*/ 238581 w 1838452"/>
                <a:gd name="connsiteY2" fmla="*/ 0 h 2774242"/>
                <a:gd name="connsiteX3" fmla="*/ 1026862 w 1838452"/>
                <a:gd name="connsiteY3" fmla="*/ 474160 h 2774242"/>
                <a:gd name="connsiteX4" fmla="*/ 1837780 w 1838452"/>
                <a:gd name="connsiteY4" fmla="*/ 1842628 h 2774242"/>
                <a:gd name="connsiteX5" fmla="*/ 1831919 w 1838452"/>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424" h="2774242">
                  <a:moveTo>
                    <a:pt x="1831919" y="2774242"/>
                  </a:moveTo>
                  <a:cubicBezTo>
                    <a:pt x="1172997" y="2770460"/>
                    <a:pt x="565776" y="2416633"/>
                    <a:pt x="237604" y="1845235"/>
                  </a:cubicBezTo>
                  <a:cubicBezTo>
                    <a:pt x="-90568" y="1273837"/>
                    <a:pt x="-67942" y="549187"/>
                    <a:pt x="238581" y="0"/>
                  </a:cubicBezTo>
                  <a:cubicBezTo>
                    <a:pt x="501341" y="158053"/>
                    <a:pt x="654856" y="244669"/>
                    <a:pt x="1026862" y="474160"/>
                  </a:cubicBezTo>
                  <a:cubicBezTo>
                    <a:pt x="1295585" y="930316"/>
                    <a:pt x="1564307" y="1405523"/>
                    <a:pt x="1833030" y="1842628"/>
                  </a:cubicBezTo>
                  <a:cubicBezTo>
                    <a:pt x="1835826" y="2362716"/>
                    <a:pt x="1833873" y="2463704"/>
                    <a:pt x="1831919" y="2774242"/>
                  </a:cubicBezTo>
                  <a:close/>
                </a:path>
              </a:pathLst>
            </a:custGeom>
            <a:solidFill>
              <a:srgbClr val="E5E5E5"/>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1137"/>
              <a:endParaRPr lang="nb-NO" sz="1341">
                <a:solidFill>
                  <a:prstClr val="black"/>
                </a:solidFill>
                <a:latin typeface="Arial" panose="020B0604020202020204"/>
              </a:endParaRPr>
            </a:p>
          </p:txBody>
        </p:sp>
        <p:grpSp>
          <p:nvGrpSpPr>
            <p:cNvPr id="21" name="Gruppe 20">
              <a:extLst>
                <a:ext uri="{FF2B5EF4-FFF2-40B4-BE49-F238E27FC236}">
                  <a16:creationId xmlns:a16="http://schemas.microsoft.com/office/drawing/2014/main" id="{590AD167-37CF-426D-93D6-9FC170234A70}"/>
                </a:ext>
              </a:extLst>
            </p:cNvPr>
            <p:cNvGrpSpPr/>
            <p:nvPr/>
          </p:nvGrpSpPr>
          <p:grpSpPr>
            <a:xfrm>
              <a:off x="7434300" y="3305264"/>
              <a:ext cx="1265800" cy="1091207"/>
              <a:chOff x="5815259" y="3938676"/>
              <a:chExt cx="1265800" cy="1091207"/>
            </a:xfrm>
          </p:grpSpPr>
          <p:sp>
            <p:nvSpPr>
              <p:cNvPr id="30" name="Likebent trekant 29">
                <a:extLst>
                  <a:ext uri="{FF2B5EF4-FFF2-40B4-BE49-F238E27FC236}">
                    <a16:creationId xmlns:a16="http://schemas.microsoft.com/office/drawing/2014/main" id="{24995384-C052-4120-B6B3-01390834AC9E}"/>
                  </a:ext>
                </a:extLst>
              </p:cNvPr>
              <p:cNvSpPr/>
              <p:nvPr/>
            </p:nvSpPr>
            <p:spPr>
              <a:xfrm flipV="1">
                <a:off x="5815259" y="3938676"/>
                <a:ext cx="1265800" cy="1091207"/>
              </a:xfrm>
              <a:prstGeom prst="triangle">
                <a:avLst/>
              </a:prstGeom>
              <a:solidFill>
                <a:schemeClr val="bg2">
                  <a:lumMod val="50000"/>
                </a:schemeClr>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1137"/>
                <a:endParaRPr lang="nb-NO" sz="1341">
                  <a:solidFill>
                    <a:prstClr val="white"/>
                  </a:solidFill>
                  <a:latin typeface="Arial" panose="020B0604020202020204"/>
                </a:endParaRPr>
              </a:p>
            </p:txBody>
          </p:sp>
          <p:sp>
            <p:nvSpPr>
              <p:cNvPr id="31" name="TekstSylinder 30">
                <a:extLst>
                  <a:ext uri="{FF2B5EF4-FFF2-40B4-BE49-F238E27FC236}">
                    <a16:creationId xmlns:a16="http://schemas.microsoft.com/office/drawing/2014/main" id="{991FB238-B512-4CA0-A7D6-D583D1696098}"/>
                  </a:ext>
                </a:extLst>
              </p:cNvPr>
              <p:cNvSpPr txBox="1"/>
              <p:nvPr/>
            </p:nvSpPr>
            <p:spPr>
              <a:xfrm>
                <a:off x="5919944" y="4028511"/>
                <a:ext cx="1089647" cy="485249"/>
              </a:xfrm>
              <a:prstGeom prst="rect">
                <a:avLst/>
              </a:prstGeom>
              <a:noFill/>
            </p:spPr>
            <p:txBody>
              <a:bodyPr wrap="square" rtlCol="0">
                <a:spAutoFit/>
              </a:bodyPr>
              <a:lstStyle/>
              <a:p>
                <a:pPr algn="ctr" defTabSz="681137"/>
                <a:r>
                  <a:rPr lang="nb-NO" sz="894">
                    <a:solidFill>
                      <a:prstClr val="white">
                        <a:lumMod val="95000"/>
                      </a:prstClr>
                    </a:solidFill>
                    <a:latin typeface="Arial" panose="020B0604020202020204"/>
                  </a:rPr>
                  <a:t>Informasjons-styring</a:t>
                </a:r>
              </a:p>
            </p:txBody>
          </p:sp>
        </p:grpSp>
        <p:sp>
          <p:nvSpPr>
            <p:cNvPr id="22" name="Delvis sirkel 20">
              <a:extLst>
                <a:ext uri="{FF2B5EF4-FFF2-40B4-BE49-F238E27FC236}">
                  <a16:creationId xmlns:a16="http://schemas.microsoft.com/office/drawing/2014/main" id="{0C5D532A-DBFB-4437-84DD-B8F208A52A8C}"/>
                </a:ext>
              </a:extLst>
            </p:cNvPr>
            <p:cNvSpPr/>
            <p:nvPr/>
          </p:nvSpPr>
          <p:spPr>
            <a:xfrm rot="14401808">
              <a:off x="8136105" y="2981018"/>
              <a:ext cx="1839322" cy="2774242"/>
            </a:xfrm>
            <a:custGeom>
              <a:avLst/>
              <a:gdLst>
                <a:gd name="connsiteX0" fmla="*/ 1840183 w 3701612"/>
                <a:gd name="connsiteY0" fmla="*/ 3701582 h 3701612"/>
                <a:gd name="connsiteX1" fmla="*/ 245868 w 3701612"/>
                <a:gd name="connsiteY1" fmla="*/ 2772575 h 3701612"/>
                <a:gd name="connsiteX2" fmla="*/ 246845 w 3701612"/>
                <a:gd name="connsiteY2" fmla="*/ 927340 h 3701612"/>
                <a:gd name="connsiteX3" fmla="*/ 1850806 w 3701612"/>
                <a:gd name="connsiteY3" fmla="*/ 1850806 h 3701612"/>
                <a:gd name="connsiteX4" fmla="*/ 1840183 w 3701612"/>
                <a:gd name="connsiteY4" fmla="*/ 3701582 h 3701612"/>
                <a:gd name="connsiteX0" fmla="*/ 1777622 w 1788245"/>
                <a:gd name="connsiteY0" fmla="*/ 2774242 h 2774242"/>
                <a:gd name="connsiteX1" fmla="*/ 183307 w 1788245"/>
                <a:gd name="connsiteY1" fmla="*/ 1845235 h 2774242"/>
                <a:gd name="connsiteX2" fmla="*/ 184284 w 1788245"/>
                <a:gd name="connsiteY2" fmla="*/ 0 h 2774242"/>
                <a:gd name="connsiteX3" fmla="*/ 1053489 w 1788245"/>
                <a:gd name="connsiteY3" fmla="*/ 493210 h 2774242"/>
                <a:gd name="connsiteX4" fmla="*/ 1788245 w 1788245"/>
                <a:gd name="connsiteY4" fmla="*/ 923466 h 2774242"/>
                <a:gd name="connsiteX5" fmla="*/ 1777622 w 1788245"/>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1053489 w 1783483"/>
                <a:gd name="connsiteY3" fmla="*/ 493210 h 2774242"/>
                <a:gd name="connsiteX4" fmla="*/ 1783483 w 1783483"/>
                <a:gd name="connsiteY4" fmla="*/ 1842628 h 2774242"/>
                <a:gd name="connsiteX5" fmla="*/ 1777622 w 1783483"/>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986814 w 1783483"/>
                <a:gd name="connsiteY3" fmla="*/ 474160 h 2774242"/>
                <a:gd name="connsiteX4" fmla="*/ 1783483 w 1783483"/>
                <a:gd name="connsiteY4" fmla="*/ 1842628 h 2774242"/>
                <a:gd name="connsiteX5" fmla="*/ 1777622 w 1783483"/>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86814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814826 w 1821359"/>
                <a:gd name="connsiteY0" fmla="*/ 2774242 h 2774242"/>
                <a:gd name="connsiteX1" fmla="*/ 220511 w 1821359"/>
                <a:gd name="connsiteY1" fmla="*/ 1845235 h 2774242"/>
                <a:gd name="connsiteX2" fmla="*/ 221488 w 1821359"/>
                <a:gd name="connsiteY2" fmla="*/ 0 h 2774242"/>
                <a:gd name="connsiteX3" fmla="*/ 1009769 w 1821359"/>
                <a:gd name="connsiteY3" fmla="*/ 474160 h 2774242"/>
                <a:gd name="connsiteX4" fmla="*/ 1820687 w 1821359"/>
                <a:gd name="connsiteY4" fmla="*/ 1842628 h 2774242"/>
                <a:gd name="connsiteX5" fmla="*/ 1814826 w 1821359"/>
                <a:gd name="connsiteY5" fmla="*/ 2774242 h 2774242"/>
                <a:gd name="connsiteX0" fmla="*/ 1823274 w 1829807"/>
                <a:gd name="connsiteY0" fmla="*/ 2774242 h 2774242"/>
                <a:gd name="connsiteX1" fmla="*/ 228959 w 1829807"/>
                <a:gd name="connsiteY1" fmla="*/ 1845235 h 2774242"/>
                <a:gd name="connsiteX2" fmla="*/ 229936 w 1829807"/>
                <a:gd name="connsiteY2" fmla="*/ 0 h 2774242"/>
                <a:gd name="connsiteX3" fmla="*/ 1018217 w 1829807"/>
                <a:gd name="connsiteY3" fmla="*/ 474160 h 2774242"/>
                <a:gd name="connsiteX4" fmla="*/ 1829135 w 1829807"/>
                <a:gd name="connsiteY4" fmla="*/ 1842628 h 2774242"/>
                <a:gd name="connsiteX5" fmla="*/ 1823274 w 1829807"/>
                <a:gd name="connsiteY5" fmla="*/ 2774242 h 2774242"/>
                <a:gd name="connsiteX0" fmla="*/ 1830175 w 1836708"/>
                <a:gd name="connsiteY0" fmla="*/ 2774242 h 2774242"/>
                <a:gd name="connsiteX1" fmla="*/ 235860 w 1836708"/>
                <a:gd name="connsiteY1" fmla="*/ 1845235 h 2774242"/>
                <a:gd name="connsiteX2" fmla="*/ 236837 w 1836708"/>
                <a:gd name="connsiteY2" fmla="*/ 0 h 2774242"/>
                <a:gd name="connsiteX3" fmla="*/ 1025118 w 1836708"/>
                <a:gd name="connsiteY3" fmla="*/ 474160 h 2774242"/>
                <a:gd name="connsiteX4" fmla="*/ 1836036 w 1836708"/>
                <a:gd name="connsiteY4" fmla="*/ 1842628 h 2774242"/>
                <a:gd name="connsiteX5" fmla="*/ 1830175 w 1836708"/>
                <a:gd name="connsiteY5" fmla="*/ 2774242 h 2774242"/>
                <a:gd name="connsiteX0" fmla="*/ 1824989 w 1831522"/>
                <a:gd name="connsiteY0" fmla="*/ 2774242 h 2774242"/>
                <a:gd name="connsiteX1" fmla="*/ 230674 w 1831522"/>
                <a:gd name="connsiteY1" fmla="*/ 1845235 h 2774242"/>
                <a:gd name="connsiteX2" fmla="*/ 231651 w 1831522"/>
                <a:gd name="connsiteY2" fmla="*/ 0 h 2774242"/>
                <a:gd name="connsiteX3" fmla="*/ 1019932 w 1831522"/>
                <a:gd name="connsiteY3" fmla="*/ 474160 h 2774242"/>
                <a:gd name="connsiteX4" fmla="*/ 1830850 w 1831522"/>
                <a:gd name="connsiteY4" fmla="*/ 1842628 h 2774242"/>
                <a:gd name="connsiteX5" fmla="*/ 1824989 w 1831522"/>
                <a:gd name="connsiteY5" fmla="*/ 2774242 h 2774242"/>
                <a:gd name="connsiteX0" fmla="*/ 1842527 w 1849060"/>
                <a:gd name="connsiteY0" fmla="*/ 2774242 h 2774242"/>
                <a:gd name="connsiteX1" fmla="*/ 248212 w 1849060"/>
                <a:gd name="connsiteY1" fmla="*/ 1845235 h 2774242"/>
                <a:gd name="connsiteX2" fmla="*/ 249189 w 1849060"/>
                <a:gd name="connsiteY2" fmla="*/ 0 h 2774242"/>
                <a:gd name="connsiteX3" fmla="*/ 1037470 w 1849060"/>
                <a:gd name="connsiteY3" fmla="*/ 474160 h 2774242"/>
                <a:gd name="connsiteX4" fmla="*/ 1848388 w 1849060"/>
                <a:gd name="connsiteY4" fmla="*/ 1842628 h 2774242"/>
                <a:gd name="connsiteX5" fmla="*/ 1842527 w 1849060"/>
                <a:gd name="connsiteY5" fmla="*/ 2774242 h 2774242"/>
                <a:gd name="connsiteX0" fmla="*/ 1826710 w 1833243"/>
                <a:gd name="connsiteY0" fmla="*/ 2774242 h 2774242"/>
                <a:gd name="connsiteX1" fmla="*/ 232395 w 1833243"/>
                <a:gd name="connsiteY1" fmla="*/ 1845235 h 2774242"/>
                <a:gd name="connsiteX2" fmla="*/ 233372 w 1833243"/>
                <a:gd name="connsiteY2" fmla="*/ 0 h 2774242"/>
                <a:gd name="connsiteX3" fmla="*/ 1021653 w 1833243"/>
                <a:gd name="connsiteY3" fmla="*/ 474160 h 2774242"/>
                <a:gd name="connsiteX4" fmla="*/ 1832571 w 1833243"/>
                <a:gd name="connsiteY4" fmla="*/ 1842628 h 2774242"/>
                <a:gd name="connsiteX5" fmla="*/ 1826710 w 1833243"/>
                <a:gd name="connsiteY5" fmla="*/ 2774242 h 2774242"/>
                <a:gd name="connsiteX0" fmla="*/ 1831919 w 1838452"/>
                <a:gd name="connsiteY0" fmla="*/ 2774242 h 2774242"/>
                <a:gd name="connsiteX1" fmla="*/ 237604 w 1838452"/>
                <a:gd name="connsiteY1" fmla="*/ 1845235 h 2774242"/>
                <a:gd name="connsiteX2" fmla="*/ 238581 w 1838452"/>
                <a:gd name="connsiteY2" fmla="*/ 0 h 2774242"/>
                <a:gd name="connsiteX3" fmla="*/ 1026862 w 1838452"/>
                <a:gd name="connsiteY3" fmla="*/ 474160 h 2774242"/>
                <a:gd name="connsiteX4" fmla="*/ 1837780 w 1838452"/>
                <a:gd name="connsiteY4" fmla="*/ 1842628 h 2774242"/>
                <a:gd name="connsiteX5" fmla="*/ 1831919 w 1838452"/>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424" h="2774242">
                  <a:moveTo>
                    <a:pt x="1831919" y="2774242"/>
                  </a:moveTo>
                  <a:cubicBezTo>
                    <a:pt x="1172997" y="2770460"/>
                    <a:pt x="565776" y="2416633"/>
                    <a:pt x="237604" y="1845235"/>
                  </a:cubicBezTo>
                  <a:cubicBezTo>
                    <a:pt x="-90568" y="1273837"/>
                    <a:pt x="-67942" y="549187"/>
                    <a:pt x="238581" y="0"/>
                  </a:cubicBezTo>
                  <a:cubicBezTo>
                    <a:pt x="501341" y="158053"/>
                    <a:pt x="654856" y="244669"/>
                    <a:pt x="1026862" y="474160"/>
                  </a:cubicBezTo>
                  <a:cubicBezTo>
                    <a:pt x="1295585" y="930316"/>
                    <a:pt x="1564307" y="1405523"/>
                    <a:pt x="1833030" y="1842628"/>
                  </a:cubicBezTo>
                  <a:cubicBezTo>
                    <a:pt x="1835826" y="2362716"/>
                    <a:pt x="1833873" y="2463704"/>
                    <a:pt x="1831919" y="2774242"/>
                  </a:cubicBezTo>
                  <a:close/>
                </a:path>
              </a:pathLst>
            </a:custGeom>
            <a:solidFill>
              <a:srgbClr val="E5E5E5"/>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1137"/>
              <a:endParaRPr lang="nb-NO" sz="1341">
                <a:solidFill>
                  <a:prstClr val="black"/>
                </a:solidFill>
                <a:latin typeface="Arial" panose="020B0604020202020204"/>
              </a:endParaRPr>
            </a:p>
          </p:txBody>
        </p:sp>
        <p:sp>
          <p:nvSpPr>
            <p:cNvPr id="23" name="TekstSylinder 22">
              <a:extLst>
                <a:ext uri="{FF2B5EF4-FFF2-40B4-BE49-F238E27FC236}">
                  <a16:creationId xmlns:a16="http://schemas.microsoft.com/office/drawing/2014/main" id="{95E3E1FB-69D8-43F1-83EF-B87B680079B7}"/>
                </a:ext>
              </a:extLst>
            </p:cNvPr>
            <p:cNvSpPr txBox="1"/>
            <p:nvPr/>
          </p:nvSpPr>
          <p:spPr>
            <a:xfrm>
              <a:off x="8745857" y="4228437"/>
              <a:ext cx="1056428" cy="308676"/>
            </a:xfrm>
            <a:prstGeom prst="rect">
              <a:avLst/>
            </a:prstGeom>
            <a:noFill/>
          </p:spPr>
          <p:txBody>
            <a:bodyPr wrap="square" rtlCol="0">
              <a:spAutoFit/>
            </a:bodyPr>
            <a:lstStyle/>
            <a:p>
              <a:pPr algn="ctr" defTabSz="681137"/>
              <a:r>
                <a:rPr lang="nb-NO" sz="894">
                  <a:solidFill>
                    <a:srgbClr val="733D4A"/>
                  </a:solidFill>
                  <a:latin typeface="Arial" panose="020B0604020202020204"/>
                </a:rPr>
                <a:t>Datakvalitet</a:t>
              </a:r>
            </a:p>
          </p:txBody>
        </p:sp>
        <p:sp>
          <p:nvSpPr>
            <p:cNvPr id="25" name="TekstSylinder 24">
              <a:extLst>
                <a:ext uri="{FF2B5EF4-FFF2-40B4-BE49-F238E27FC236}">
                  <a16:creationId xmlns:a16="http://schemas.microsoft.com/office/drawing/2014/main" id="{765EACDD-4F4A-40F5-8CF2-416154C9FFF9}"/>
                </a:ext>
              </a:extLst>
            </p:cNvPr>
            <p:cNvSpPr txBox="1"/>
            <p:nvPr/>
          </p:nvSpPr>
          <p:spPr>
            <a:xfrm>
              <a:off x="7384683" y="2422143"/>
              <a:ext cx="1361174" cy="308676"/>
            </a:xfrm>
            <a:prstGeom prst="rect">
              <a:avLst/>
            </a:prstGeom>
            <a:noFill/>
          </p:spPr>
          <p:txBody>
            <a:bodyPr wrap="square" rtlCol="0">
              <a:spAutoFit/>
            </a:bodyPr>
            <a:lstStyle/>
            <a:p>
              <a:pPr algn="ctr" defTabSz="681137"/>
              <a:r>
                <a:rPr lang="nb-NO" sz="894">
                  <a:solidFill>
                    <a:srgbClr val="733D4A"/>
                  </a:solidFill>
                  <a:latin typeface="Arial" panose="020B0604020202020204"/>
                </a:rPr>
                <a:t>Standardisering</a:t>
              </a:r>
            </a:p>
          </p:txBody>
        </p:sp>
        <p:sp>
          <p:nvSpPr>
            <p:cNvPr id="26" name="TekstSylinder 25">
              <a:extLst>
                <a:ext uri="{FF2B5EF4-FFF2-40B4-BE49-F238E27FC236}">
                  <a16:creationId xmlns:a16="http://schemas.microsoft.com/office/drawing/2014/main" id="{B3945C8A-6541-40A4-80CE-FDD78A7E4E52}"/>
                </a:ext>
              </a:extLst>
            </p:cNvPr>
            <p:cNvSpPr txBox="1"/>
            <p:nvPr/>
          </p:nvSpPr>
          <p:spPr>
            <a:xfrm>
              <a:off x="6296507" y="4146544"/>
              <a:ext cx="1361174" cy="493400"/>
            </a:xfrm>
            <a:prstGeom prst="rect">
              <a:avLst/>
            </a:prstGeom>
            <a:noFill/>
          </p:spPr>
          <p:txBody>
            <a:bodyPr wrap="square" rtlCol="0">
              <a:spAutoFit/>
            </a:bodyPr>
            <a:lstStyle/>
            <a:p>
              <a:pPr algn="ctr" defTabSz="681137"/>
              <a:r>
                <a:rPr lang="nb-NO" sz="894">
                  <a:solidFill>
                    <a:srgbClr val="733D4A"/>
                  </a:solidFill>
                  <a:latin typeface="Arial" panose="020B0604020202020204"/>
                </a:rPr>
                <a:t>Informasjons-arkitektur</a:t>
              </a:r>
            </a:p>
          </p:txBody>
        </p:sp>
        <p:pic>
          <p:nvPicPr>
            <p:cNvPr id="27" name="Bilde 26">
              <a:extLst>
                <a:ext uri="{FF2B5EF4-FFF2-40B4-BE49-F238E27FC236}">
                  <a16:creationId xmlns:a16="http://schemas.microsoft.com/office/drawing/2014/main" id="{744B504D-344A-4312-B9BB-0DCED8CEDF3E}"/>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06397" y="3760271"/>
              <a:ext cx="343139" cy="332918"/>
            </a:xfrm>
            <a:prstGeom prst="rect">
              <a:avLst/>
            </a:prstGeom>
          </p:spPr>
        </p:pic>
        <p:pic>
          <p:nvPicPr>
            <p:cNvPr id="28" name="Bilde 27">
              <a:extLst>
                <a:ext uri="{FF2B5EF4-FFF2-40B4-BE49-F238E27FC236}">
                  <a16:creationId xmlns:a16="http://schemas.microsoft.com/office/drawing/2014/main" id="{E8FC8712-3B4D-4C99-9014-957EE817E32B}"/>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097116" y="3801592"/>
              <a:ext cx="456263" cy="442671"/>
            </a:xfrm>
            <a:prstGeom prst="rect">
              <a:avLst/>
            </a:prstGeom>
          </p:spPr>
        </p:pic>
        <p:pic>
          <p:nvPicPr>
            <p:cNvPr id="29" name="Graphic 10" descr="Håndtrykk med heldekkende fyll">
              <a:extLst>
                <a:ext uri="{FF2B5EF4-FFF2-40B4-BE49-F238E27FC236}">
                  <a16:creationId xmlns:a16="http://schemas.microsoft.com/office/drawing/2014/main" id="{F419DC34-56AB-4D0A-87C2-A3150F3A10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rcRect/>
            <a:stretch/>
          </p:blipFill>
          <p:spPr>
            <a:xfrm>
              <a:off x="7801919" y="1945419"/>
              <a:ext cx="526702" cy="526702"/>
            </a:xfrm>
            <a:custGeom>
              <a:avLst/>
              <a:gdLst>
                <a:gd name="connsiteX0" fmla="*/ 0 w 1066800"/>
                <a:gd name="connsiteY0" fmla="*/ 0 h 1082162"/>
                <a:gd name="connsiteX1" fmla="*/ 1066800 w 1066800"/>
                <a:gd name="connsiteY1" fmla="*/ 0 h 1082162"/>
                <a:gd name="connsiteX2" fmla="*/ 1066800 w 1066800"/>
                <a:gd name="connsiteY2" fmla="*/ 1082162 h 1082162"/>
                <a:gd name="connsiteX3" fmla="*/ 0 w 1066800"/>
                <a:gd name="connsiteY3" fmla="*/ 1082162 h 1082162"/>
              </a:gdLst>
              <a:ahLst/>
              <a:cxnLst>
                <a:cxn ang="0">
                  <a:pos x="connsiteX0" y="connsiteY0"/>
                </a:cxn>
                <a:cxn ang="0">
                  <a:pos x="connsiteX1" y="connsiteY1"/>
                </a:cxn>
                <a:cxn ang="0">
                  <a:pos x="connsiteX2" y="connsiteY2"/>
                </a:cxn>
                <a:cxn ang="0">
                  <a:pos x="connsiteX3" y="connsiteY3"/>
                </a:cxn>
              </a:cxnLst>
              <a:rect l="l" t="t" r="r" b="b"/>
              <a:pathLst>
                <a:path w="1066800" h="1082162">
                  <a:moveTo>
                    <a:pt x="0" y="0"/>
                  </a:moveTo>
                  <a:lnTo>
                    <a:pt x="1066800" y="0"/>
                  </a:lnTo>
                  <a:lnTo>
                    <a:pt x="1066800" y="1082162"/>
                  </a:lnTo>
                  <a:lnTo>
                    <a:pt x="0" y="1082162"/>
                  </a:lnTo>
                  <a:close/>
                </a:path>
              </a:pathLst>
            </a:custGeom>
          </p:spPr>
        </p:pic>
      </p:grpSp>
      <p:sp>
        <p:nvSpPr>
          <p:cNvPr id="2" name="Rektangel 1"/>
          <p:cNvSpPr/>
          <p:nvPr/>
        </p:nvSpPr>
        <p:spPr>
          <a:xfrm>
            <a:off x="5677233" y="4520253"/>
            <a:ext cx="3187368" cy="259886"/>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a:solidFill>
                  <a:schemeClr val="accent1"/>
                </a:solidFill>
              </a:rPr>
              <a:t>Regulatoriske krav</a:t>
            </a:r>
            <a:endParaRPr lang="nb-NO" sz="1100">
              <a:solidFill>
                <a:schemeClr val="accent1"/>
              </a:solidFill>
            </a:endParaRPr>
          </a:p>
        </p:txBody>
      </p:sp>
    </p:spTree>
    <p:extLst>
      <p:ext uri="{BB962C8B-B14F-4D97-AF65-F5344CB8AC3E}">
        <p14:creationId xmlns:p14="http://schemas.microsoft.com/office/powerpoint/2010/main" val="43766097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ktangel 24"/>
          <p:cNvSpPr/>
          <p:nvPr/>
        </p:nvSpPr>
        <p:spPr>
          <a:xfrm>
            <a:off x="1400569" y="2225488"/>
            <a:ext cx="5867566" cy="248098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Ellipse 3"/>
          <p:cNvSpPr/>
          <p:nvPr/>
        </p:nvSpPr>
        <p:spPr>
          <a:xfrm>
            <a:off x="2134077" y="2401985"/>
            <a:ext cx="1633819"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amle/</a:t>
            </a:r>
          </a:p>
          <a:p>
            <a:pPr algn="ctr"/>
            <a:r>
              <a:rPr lang="nb-NO" dirty="0"/>
              <a:t>etablere</a:t>
            </a:r>
          </a:p>
        </p:txBody>
      </p:sp>
      <p:sp>
        <p:nvSpPr>
          <p:cNvPr id="5" name="Ellipse 4"/>
          <p:cNvSpPr/>
          <p:nvPr/>
        </p:nvSpPr>
        <p:spPr>
          <a:xfrm>
            <a:off x="3273167" y="3732402"/>
            <a:ext cx="1902760" cy="8269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Lagre og vedlikeholde</a:t>
            </a:r>
            <a:endParaRPr lang="nb-NO" dirty="0"/>
          </a:p>
        </p:txBody>
      </p:sp>
      <p:sp>
        <p:nvSpPr>
          <p:cNvPr id="6" name="Ellipse 5"/>
          <p:cNvSpPr/>
          <p:nvPr/>
        </p:nvSpPr>
        <p:spPr>
          <a:xfrm>
            <a:off x="4694734" y="2404505"/>
            <a:ext cx="1902760" cy="8269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Bruke </a:t>
            </a:r>
          </a:p>
          <a:p>
            <a:pPr algn="ctr"/>
            <a:endParaRPr lang="nb-NO" dirty="0"/>
          </a:p>
        </p:txBody>
      </p:sp>
      <p:cxnSp>
        <p:nvCxnSpPr>
          <p:cNvPr id="9" name="Rett pilkobling 8"/>
          <p:cNvCxnSpPr/>
          <p:nvPr/>
        </p:nvCxnSpPr>
        <p:spPr>
          <a:xfrm>
            <a:off x="3402572" y="3263439"/>
            <a:ext cx="401660" cy="4815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Rett pilkobling 10"/>
          <p:cNvCxnSpPr/>
          <p:nvPr/>
        </p:nvCxnSpPr>
        <p:spPr>
          <a:xfrm flipV="1">
            <a:off x="4694734" y="3262595"/>
            <a:ext cx="408427" cy="4504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Kube 11"/>
          <p:cNvSpPr/>
          <p:nvPr/>
        </p:nvSpPr>
        <p:spPr>
          <a:xfrm>
            <a:off x="1400569" y="1081898"/>
            <a:ext cx="1764283" cy="724328"/>
          </a:xfrm>
          <a:prstGeom prst="cube">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Fag-system</a:t>
            </a:r>
          </a:p>
        </p:txBody>
      </p:sp>
      <p:sp>
        <p:nvSpPr>
          <p:cNvPr id="15" name="Kube 14"/>
          <p:cNvSpPr/>
          <p:nvPr/>
        </p:nvSpPr>
        <p:spPr>
          <a:xfrm>
            <a:off x="2964666" y="1080953"/>
            <a:ext cx="1350310" cy="724328"/>
          </a:xfrm>
          <a:prstGeom prst="cube">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Saks-behandling</a:t>
            </a:r>
          </a:p>
        </p:txBody>
      </p:sp>
      <p:sp>
        <p:nvSpPr>
          <p:cNvPr id="13" name="Kube 12"/>
          <p:cNvSpPr/>
          <p:nvPr/>
        </p:nvSpPr>
        <p:spPr>
          <a:xfrm>
            <a:off x="4440177" y="1080953"/>
            <a:ext cx="1329708" cy="724328"/>
          </a:xfrm>
          <a:prstGeom prst="cube">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Analyse</a:t>
            </a:r>
          </a:p>
        </p:txBody>
      </p:sp>
      <p:sp>
        <p:nvSpPr>
          <p:cNvPr id="14" name="Kube 13"/>
          <p:cNvSpPr/>
          <p:nvPr/>
        </p:nvSpPr>
        <p:spPr>
          <a:xfrm>
            <a:off x="5958758" y="1080953"/>
            <a:ext cx="1426799" cy="708875"/>
          </a:xfrm>
          <a:prstGeom prst="cube">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Ekstern</a:t>
            </a:r>
          </a:p>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deling</a:t>
            </a:r>
          </a:p>
        </p:txBody>
      </p:sp>
      <p:sp>
        <p:nvSpPr>
          <p:cNvPr id="26" name="Pil høyre 25"/>
          <p:cNvSpPr/>
          <p:nvPr/>
        </p:nvSpPr>
        <p:spPr>
          <a:xfrm rot="5400000">
            <a:off x="1657350" y="1892674"/>
            <a:ext cx="295835" cy="275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Pil høyre 26"/>
          <p:cNvSpPr/>
          <p:nvPr/>
        </p:nvSpPr>
        <p:spPr>
          <a:xfrm rot="16200000">
            <a:off x="2192991" y="1880069"/>
            <a:ext cx="295835" cy="275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Pil høyre 27"/>
          <p:cNvSpPr/>
          <p:nvPr/>
        </p:nvSpPr>
        <p:spPr>
          <a:xfrm rot="5400000">
            <a:off x="3619978" y="1876401"/>
            <a:ext cx="295835" cy="275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il høyre 29"/>
          <p:cNvSpPr/>
          <p:nvPr/>
        </p:nvSpPr>
        <p:spPr>
          <a:xfrm rot="5400000">
            <a:off x="5087480" y="1937520"/>
            <a:ext cx="267241" cy="154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Pil høyre 30"/>
          <p:cNvSpPr/>
          <p:nvPr/>
        </p:nvSpPr>
        <p:spPr>
          <a:xfrm rot="16200000">
            <a:off x="4591836" y="1864080"/>
            <a:ext cx="295835" cy="275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Pil høyre 31"/>
          <p:cNvSpPr/>
          <p:nvPr/>
        </p:nvSpPr>
        <p:spPr>
          <a:xfrm rot="16200000">
            <a:off x="3148455" y="1889675"/>
            <a:ext cx="281213" cy="2282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Pil høyre 32"/>
          <p:cNvSpPr/>
          <p:nvPr/>
        </p:nvSpPr>
        <p:spPr>
          <a:xfrm rot="16200000">
            <a:off x="6383901" y="1846977"/>
            <a:ext cx="295835" cy="275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3" name="Bilde 22"/>
          <p:cNvPicPr>
            <a:picLocks noChangeAspect="1"/>
          </p:cNvPicPr>
          <p:nvPr/>
        </p:nvPicPr>
        <p:blipFill>
          <a:blip r:embed="rId2"/>
          <a:stretch>
            <a:fillRect/>
          </a:stretch>
        </p:blipFill>
        <p:spPr>
          <a:xfrm>
            <a:off x="-85924" y="70585"/>
            <a:ext cx="8511217" cy="5129960"/>
          </a:xfrm>
          <a:prstGeom prst="rect">
            <a:avLst/>
          </a:prstGeom>
        </p:spPr>
      </p:pic>
      <p:sp>
        <p:nvSpPr>
          <p:cNvPr id="3" name="TekstSylinder 2"/>
          <p:cNvSpPr txBox="1"/>
          <p:nvPr/>
        </p:nvSpPr>
        <p:spPr>
          <a:xfrm>
            <a:off x="3289061" y="2220067"/>
            <a:ext cx="2117888" cy="830997"/>
          </a:xfrm>
          <a:prstGeom prst="rect">
            <a:avLst/>
          </a:prstGeom>
          <a:noFill/>
        </p:spPr>
        <p:txBody>
          <a:bodyPr wrap="none" rtlCol="0">
            <a:spAutoFit/>
          </a:bodyPr>
          <a:lstStyle/>
          <a:p>
            <a:pPr algn="ctr"/>
            <a:r>
              <a:rPr lang="nb-NO" sz="2400" b="1" dirty="0">
                <a:solidFill>
                  <a:schemeClr val="bg1"/>
                </a:solidFill>
              </a:rPr>
              <a:t>Styring</a:t>
            </a:r>
          </a:p>
          <a:p>
            <a:pPr algn="ctr"/>
            <a:r>
              <a:rPr lang="nb-NO" sz="2400" b="1" dirty="0">
                <a:solidFill>
                  <a:schemeClr val="bg1"/>
                </a:solidFill>
              </a:rPr>
              <a:t>(</a:t>
            </a:r>
            <a:r>
              <a:rPr lang="nb-NO" sz="2400" b="1" dirty="0" err="1">
                <a:solidFill>
                  <a:schemeClr val="bg1"/>
                </a:solidFill>
              </a:rPr>
              <a:t>governance</a:t>
            </a:r>
            <a:r>
              <a:rPr lang="nb-NO" sz="2400" b="1" dirty="0">
                <a:solidFill>
                  <a:schemeClr val="bg1"/>
                </a:solidFill>
              </a:rPr>
              <a:t>)</a:t>
            </a:r>
          </a:p>
        </p:txBody>
      </p:sp>
    </p:spTree>
    <p:extLst>
      <p:ext uri="{BB962C8B-B14F-4D97-AF65-F5344CB8AC3E}">
        <p14:creationId xmlns:p14="http://schemas.microsoft.com/office/powerpoint/2010/main" val="1808112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2"/>
          <a:stretch>
            <a:fillRect/>
          </a:stretch>
        </p:blipFill>
        <p:spPr>
          <a:xfrm>
            <a:off x="2210594" y="497438"/>
            <a:ext cx="4466431" cy="4338085"/>
          </a:xfrm>
          <a:prstGeom prst="rect">
            <a:avLst/>
          </a:prstGeom>
        </p:spPr>
      </p:pic>
    </p:spTree>
    <p:extLst>
      <p:ext uri="{BB962C8B-B14F-4D97-AF65-F5344CB8AC3E}">
        <p14:creationId xmlns:p14="http://schemas.microsoft.com/office/powerpoint/2010/main" val="240915327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493520" y="251678"/>
            <a:ext cx="8331224" cy="623248"/>
          </a:xfrm>
        </p:spPr>
        <p:txBody>
          <a:bodyPr/>
          <a:lstStyle/>
          <a:p>
            <a:r>
              <a:rPr lang="nb-NO" dirty="0"/>
              <a:t>Styring </a:t>
            </a:r>
            <a:r>
              <a:rPr lang="nb-NO" dirty="0" err="1"/>
              <a:t>vs</a:t>
            </a:r>
            <a:r>
              <a:rPr lang="nb-NO" dirty="0"/>
              <a:t> forvaltning</a:t>
            </a:r>
          </a:p>
        </p:txBody>
      </p:sp>
      <p:sp>
        <p:nvSpPr>
          <p:cNvPr id="3" name="Undertittel 2"/>
          <p:cNvSpPr>
            <a:spLocks noGrp="1"/>
          </p:cNvSpPr>
          <p:nvPr>
            <p:ph type="subTitle" idx="1"/>
          </p:nvPr>
        </p:nvSpPr>
        <p:spPr>
          <a:xfrm>
            <a:off x="933640" y="1187917"/>
            <a:ext cx="8331224" cy="346249"/>
          </a:xfrm>
        </p:spPr>
        <p:txBody>
          <a:bodyPr>
            <a:normAutofit lnSpcReduction="10000"/>
          </a:bodyPr>
          <a:lstStyle/>
          <a:p>
            <a:r>
              <a:rPr lang="nb-NO" dirty="0"/>
              <a:t>	data </a:t>
            </a:r>
            <a:r>
              <a:rPr lang="nb-NO" dirty="0" err="1"/>
              <a:t>governance</a:t>
            </a:r>
            <a:r>
              <a:rPr lang="nb-NO" dirty="0"/>
              <a:t> </a:t>
            </a:r>
            <a:r>
              <a:rPr lang="nb-NO" dirty="0" err="1"/>
              <a:t>vs</a:t>
            </a:r>
            <a:r>
              <a:rPr lang="nb-NO" dirty="0"/>
              <a:t> data management</a:t>
            </a:r>
          </a:p>
        </p:txBody>
      </p:sp>
      <p:pic>
        <p:nvPicPr>
          <p:cNvPr id="4" name="Bilde 3"/>
          <p:cNvPicPr>
            <a:picLocks noChangeAspect="1"/>
          </p:cNvPicPr>
          <p:nvPr/>
        </p:nvPicPr>
        <p:blipFill>
          <a:blip r:embed="rId2"/>
          <a:stretch>
            <a:fillRect/>
          </a:stretch>
        </p:blipFill>
        <p:spPr>
          <a:xfrm>
            <a:off x="2745679" y="2026919"/>
            <a:ext cx="2913453" cy="1767613"/>
          </a:xfrm>
          <a:prstGeom prst="rect">
            <a:avLst/>
          </a:prstGeom>
        </p:spPr>
      </p:pic>
      <p:sp>
        <p:nvSpPr>
          <p:cNvPr id="5" name="TekstSylinder 4"/>
          <p:cNvSpPr txBox="1"/>
          <p:nvPr/>
        </p:nvSpPr>
        <p:spPr>
          <a:xfrm>
            <a:off x="6118860" y="2681892"/>
            <a:ext cx="2462534" cy="738664"/>
          </a:xfrm>
          <a:prstGeom prst="rect">
            <a:avLst/>
          </a:prstGeom>
          <a:noFill/>
        </p:spPr>
        <p:txBody>
          <a:bodyPr wrap="none" rtlCol="0">
            <a:spAutoFit/>
          </a:bodyPr>
          <a:lstStyle/>
          <a:p>
            <a:endParaRPr lang="nb-NO" dirty="0"/>
          </a:p>
          <a:p>
            <a:pPr algn="ctr"/>
            <a:r>
              <a:rPr lang="nb-NO" dirty="0"/>
              <a:t>Forvalte standardisert </a:t>
            </a:r>
          </a:p>
          <a:p>
            <a:pPr algn="ctr"/>
            <a:r>
              <a:rPr lang="nb-NO" dirty="0"/>
              <a:t>informasjon med høy kvalitet</a:t>
            </a:r>
          </a:p>
        </p:txBody>
      </p:sp>
      <p:sp>
        <p:nvSpPr>
          <p:cNvPr id="6" name="Undertittel 2"/>
          <p:cNvSpPr txBox="1">
            <a:spLocks/>
          </p:cNvSpPr>
          <p:nvPr/>
        </p:nvSpPr>
        <p:spPr>
          <a:xfrm>
            <a:off x="6453997" y="2508768"/>
            <a:ext cx="2038160" cy="346249"/>
          </a:xfrm>
          <a:prstGeom prst="rect">
            <a:avLst/>
          </a:prstGeom>
        </p:spPr>
        <p:txBody>
          <a:bodyPr vert="horz" lIns="0" tIns="0" rIns="0" bIns="0" rtlCol="0">
            <a:normAutofit/>
          </a:bodyPr>
          <a:lstStyle>
            <a:lvl1pPr marL="0" indent="0" algn="l" defTabSz="681091" rtl="0" eaLnBrk="1" latinLnBrk="0" hangingPunct="1">
              <a:lnSpc>
                <a:spcPct val="90000"/>
              </a:lnSpc>
              <a:spcBef>
                <a:spcPts val="745"/>
              </a:spcBef>
              <a:buFont typeface="Arial" panose="020B0604020202020204" pitchFamily="34" charset="0"/>
              <a:buNone/>
              <a:defRPr sz="2500" b="1" kern="1200">
                <a:solidFill>
                  <a:schemeClr val="tx1"/>
                </a:solidFill>
                <a:latin typeface="+mn-lt"/>
                <a:ea typeface="+mn-ea"/>
                <a:cs typeface="+mn-cs"/>
              </a:defRPr>
            </a:lvl1pPr>
            <a:lvl2pPr marL="340545" indent="0" algn="ctr" defTabSz="681091" rtl="0" eaLnBrk="1" latinLnBrk="0" hangingPunct="1">
              <a:lnSpc>
                <a:spcPct val="90000"/>
              </a:lnSpc>
              <a:spcBef>
                <a:spcPts val="373"/>
              </a:spcBef>
              <a:buFont typeface="Arial" panose="020B0604020202020204" pitchFamily="34" charset="0"/>
              <a:buNone/>
              <a:defRPr sz="1500" kern="1200">
                <a:solidFill>
                  <a:schemeClr val="tx1"/>
                </a:solidFill>
                <a:latin typeface="+mn-lt"/>
                <a:ea typeface="+mn-ea"/>
                <a:cs typeface="+mn-cs"/>
              </a:defRPr>
            </a:lvl2pPr>
            <a:lvl3pPr marL="681091" indent="0" algn="ctr" defTabSz="681091" rtl="0" eaLnBrk="1" latinLnBrk="0" hangingPunct="1">
              <a:lnSpc>
                <a:spcPct val="90000"/>
              </a:lnSpc>
              <a:spcBef>
                <a:spcPts val="373"/>
              </a:spcBef>
              <a:buFont typeface="Arial" panose="020B0604020202020204" pitchFamily="34" charset="0"/>
              <a:buNone/>
              <a:defRPr sz="1300" kern="1200">
                <a:solidFill>
                  <a:schemeClr val="tx1"/>
                </a:solidFill>
                <a:latin typeface="+mn-lt"/>
                <a:ea typeface="+mn-ea"/>
                <a:cs typeface="+mn-cs"/>
              </a:defRPr>
            </a:lvl3pPr>
            <a:lvl4pPr marL="1021636"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4pPr>
            <a:lvl5pPr marL="1362183"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5pPr>
            <a:lvl6pPr marL="1702727"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6pPr>
            <a:lvl7pPr marL="2043272"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7pPr>
            <a:lvl8pPr marL="2383818"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8pPr>
            <a:lvl9pPr marL="2724363"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9pPr>
          </a:lstStyle>
          <a:p>
            <a:r>
              <a:rPr lang="nb-NO" dirty="0"/>
              <a:t>Forvaltning</a:t>
            </a:r>
          </a:p>
        </p:txBody>
      </p:sp>
      <p:sp>
        <p:nvSpPr>
          <p:cNvPr id="7" name="TekstSylinder 6"/>
          <p:cNvSpPr txBox="1"/>
          <p:nvPr/>
        </p:nvSpPr>
        <p:spPr>
          <a:xfrm>
            <a:off x="193908" y="2681893"/>
            <a:ext cx="2251707" cy="738664"/>
          </a:xfrm>
          <a:prstGeom prst="rect">
            <a:avLst/>
          </a:prstGeom>
          <a:noFill/>
        </p:spPr>
        <p:txBody>
          <a:bodyPr wrap="none" rtlCol="0">
            <a:spAutoFit/>
          </a:bodyPr>
          <a:lstStyle/>
          <a:p>
            <a:endParaRPr lang="nb-NO" dirty="0"/>
          </a:p>
          <a:p>
            <a:pPr algn="ctr"/>
            <a:r>
              <a:rPr lang="nb-NO" dirty="0"/>
              <a:t>Sikre at informasjon </a:t>
            </a:r>
          </a:p>
          <a:p>
            <a:pPr algn="ctr"/>
            <a:r>
              <a:rPr lang="nb-NO" dirty="0"/>
              <a:t>er forvaltet</a:t>
            </a:r>
          </a:p>
        </p:txBody>
      </p:sp>
      <p:sp>
        <p:nvSpPr>
          <p:cNvPr id="8" name="Undertittel 2"/>
          <p:cNvSpPr txBox="1">
            <a:spLocks/>
          </p:cNvSpPr>
          <p:nvPr/>
        </p:nvSpPr>
        <p:spPr>
          <a:xfrm>
            <a:off x="707519" y="2508654"/>
            <a:ext cx="2038160" cy="346249"/>
          </a:xfrm>
          <a:prstGeom prst="rect">
            <a:avLst/>
          </a:prstGeom>
        </p:spPr>
        <p:txBody>
          <a:bodyPr vert="horz" lIns="0" tIns="0" rIns="0" bIns="0" rtlCol="0">
            <a:normAutofit/>
          </a:bodyPr>
          <a:lstStyle>
            <a:lvl1pPr marL="0" indent="0" algn="l" defTabSz="681091" rtl="0" eaLnBrk="1" latinLnBrk="0" hangingPunct="1">
              <a:lnSpc>
                <a:spcPct val="90000"/>
              </a:lnSpc>
              <a:spcBef>
                <a:spcPts val="745"/>
              </a:spcBef>
              <a:buFont typeface="Arial" panose="020B0604020202020204" pitchFamily="34" charset="0"/>
              <a:buNone/>
              <a:defRPr sz="2500" b="1" kern="1200">
                <a:solidFill>
                  <a:schemeClr val="tx1"/>
                </a:solidFill>
                <a:latin typeface="+mn-lt"/>
                <a:ea typeface="+mn-ea"/>
                <a:cs typeface="+mn-cs"/>
              </a:defRPr>
            </a:lvl1pPr>
            <a:lvl2pPr marL="340545" indent="0" algn="ctr" defTabSz="681091" rtl="0" eaLnBrk="1" latinLnBrk="0" hangingPunct="1">
              <a:lnSpc>
                <a:spcPct val="90000"/>
              </a:lnSpc>
              <a:spcBef>
                <a:spcPts val="373"/>
              </a:spcBef>
              <a:buFont typeface="Arial" panose="020B0604020202020204" pitchFamily="34" charset="0"/>
              <a:buNone/>
              <a:defRPr sz="1500" kern="1200">
                <a:solidFill>
                  <a:schemeClr val="tx1"/>
                </a:solidFill>
                <a:latin typeface="+mn-lt"/>
                <a:ea typeface="+mn-ea"/>
                <a:cs typeface="+mn-cs"/>
              </a:defRPr>
            </a:lvl2pPr>
            <a:lvl3pPr marL="681091" indent="0" algn="ctr" defTabSz="681091" rtl="0" eaLnBrk="1" latinLnBrk="0" hangingPunct="1">
              <a:lnSpc>
                <a:spcPct val="90000"/>
              </a:lnSpc>
              <a:spcBef>
                <a:spcPts val="373"/>
              </a:spcBef>
              <a:buFont typeface="Arial" panose="020B0604020202020204" pitchFamily="34" charset="0"/>
              <a:buNone/>
              <a:defRPr sz="1300" kern="1200">
                <a:solidFill>
                  <a:schemeClr val="tx1"/>
                </a:solidFill>
                <a:latin typeface="+mn-lt"/>
                <a:ea typeface="+mn-ea"/>
                <a:cs typeface="+mn-cs"/>
              </a:defRPr>
            </a:lvl3pPr>
            <a:lvl4pPr marL="1021636"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4pPr>
            <a:lvl5pPr marL="1362183"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5pPr>
            <a:lvl6pPr marL="1702727"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6pPr>
            <a:lvl7pPr marL="2043272"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7pPr>
            <a:lvl8pPr marL="2383818"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8pPr>
            <a:lvl9pPr marL="2724363"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9pPr>
          </a:lstStyle>
          <a:p>
            <a:r>
              <a:rPr lang="nb-NO" dirty="0"/>
              <a:t>Styring</a:t>
            </a:r>
          </a:p>
        </p:txBody>
      </p:sp>
    </p:spTree>
    <p:extLst>
      <p:ext uri="{BB962C8B-B14F-4D97-AF65-F5344CB8AC3E}">
        <p14:creationId xmlns:p14="http://schemas.microsoft.com/office/powerpoint/2010/main" val="20849154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e 22"/>
          <p:cNvPicPr>
            <a:picLocks noChangeAspect="1"/>
          </p:cNvPicPr>
          <p:nvPr/>
        </p:nvPicPr>
        <p:blipFill>
          <a:blip r:embed="rId2"/>
          <a:stretch>
            <a:fillRect/>
          </a:stretch>
        </p:blipFill>
        <p:spPr>
          <a:xfrm>
            <a:off x="1620932" y="3494467"/>
            <a:ext cx="2717464" cy="1501603"/>
          </a:xfrm>
          <a:prstGeom prst="rect">
            <a:avLst/>
          </a:prstGeom>
        </p:spPr>
      </p:pic>
      <p:sp>
        <p:nvSpPr>
          <p:cNvPr id="4" name="Rektangel 3"/>
          <p:cNvSpPr/>
          <p:nvPr/>
        </p:nvSpPr>
        <p:spPr>
          <a:xfrm>
            <a:off x="989697" y="1300977"/>
            <a:ext cx="7116528" cy="37369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1137"/>
            <a:r>
              <a:rPr lang="nb-NO" sz="1341" dirty="0">
                <a:solidFill>
                  <a:prstClr val="black"/>
                </a:solidFill>
                <a:latin typeface="Arial" panose="020B0604020202020204"/>
              </a:rPr>
              <a:t>Rettslige rammer</a:t>
            </a:r>
          </a:p>
        </p:txBody>
      </p:sp>
      <p:sp>
        <p:nvSpPr>
          <p:cNvPr id="5" name="Rektangel 4"/>
          <p:cNvSpPr/>
          <p:nvPr/>
        </p:nvSpPr>
        <p:spPr>
          <a:xfrm>
            <a:off x="1095378" y="1691102"/>
            <a:ext cx="6913007" cy="155119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681137"/>
            <a:r>
              <a:rPr lang="nb-NO" sz="1341" dirty="0">
                <a:solidFill>
                  <a:prstClr val="black"/>
                </a:solidFill>
                <a:latin typeface="Arial" panose="020B0604020202020204"/>
              </a:rPr>
              <a:t>Forretningsarkitektur</a:t>
            </a:r>
          </a:p>
        </p:txBody>
      </p:sp>
      <p:sp>
        <p:nvSpPr>
          <p:cNvPr id="6" name="Rektangel 5"/>
          <p:cNvSpPr/>
          <p:nvPr/>
        </p:nvSpPr>
        <p:spPr>
          <a:xfrm>
            <a:off x="1097847" y="3304919"/>
            <a:ext cx="6913007" cy="161115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681137"/>
            <a:r>
              <a:rPr lang="nb-NO" sz="1341" dirty="0">
                <a:solidFill>
                  <a:prstClr val="black"/>
                </a:solidFill>
                <a:latin typeface="Arial" panose="020B0604020202020204"/>
              </a:rPr>
              <a:t>IT-arkitektur</a:t>
            </a:r>
          </a:p>
        </p:txBody>
      </p:sp>
      <p:sp>
        <p:nvSpPr>
          <p:cNvPr id="7" name="Rektangel 6"/>
          <p:cNvSpPr/>
          <p:nvPr/>
        </p:nvSpPr>
        <p:spPr>
          <a:xfrm>
            <a:off x="4392472" y="1733236"/>
            <a:ext cx="3526336" cy="307444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681137"/>
            <a:r>
              <a:rPr lang="nb-NO" sz="1341" dirty="0">
                <a:solidFill>
                  <a:prstClr val="black"/>
                </a:solidFill>
                <a:latin typeface="Arial" panose="020B0604020202020204"/>
              </a:rPr>
              <a:t>Informasjonsarkitektur</a:t>
            </a:r>
          </a:p>
        </p:txBody>
      </p:sp>
      <p:sp>
        <p:nvSpPr>
          <p:cNvPr id="8" name="TekstSylinder 7"/>
          <p:cNvSpPr txBox="1"/>
          <p:nvPr/>
        </p:nvSpPr>
        <p:spPr>
          <a:xfrm>
            <a:off x="8374260" y="4519668"/>
            <a:ext cx="608052" cy="505010"/>
          </a:xfrm>
          <a:prstGeom prst="rect">
            <a:avLst/>
          </a:prstGeom>
          <a:noFill/>
        </p:spPr>
        <p:txBody>
          <a:bodyPr wrap="none" rtlCol="0">
            <a:spAutoFit/>
          </a:bodyPr>
          <a:lstStyle/>
          <a:p>
            <a:pPr defTabSz="681137"/>
            <a:r>
              <a:rPr lang="nb-NO" sz="1341" dirty="0">
                <a:solidFill>
                  <a:prstClr val="black"/>
                </a:solidFill>
                <a:latin typeface="Arial" panose="020B0604020202020204"/>
              </a:rPr>
              <a:t>As is</a:t>
            </a:r>
          </a:p>
          <a:p>
            <a:pPr defTabSz="681137"/>
            <a:r>
              <a:rPr lang="nb-NO" sz="1341" dirty="0">
                <a:solidFill>
                  <a:prstClr val="black"/>
                </a:solidFill>
                <a:latin typeface="Arial" panose="020B0604020202020204"/>
              </a:rPr>
              <a:t>To be</a:t>
            </a:r>
          </a:p>
        </p:txBody>
      </p:sp>
      <p:sp>
        <p:nvSpPr>
          <p:cNvPr id="9" name="TekstSylinder 8"/>
          <p:cNvSpPr txBox="1"/>
          <p:nvPr/>
        </p:nvSpPr>
        <p:spPr>
          <a:xfrm>
            <a:off x="904554" y="773689"/>
            <a:ext cx="1843903" cy="298672"/>
          </a:xfrm>
          <a:prstGeom prst="rect">
            <a:avLst/>
          </a:prstGeom>
          <a:noFill/>
        </p:spPr>
        <p:txBody>
          <a:bodyPr wrap="none" rtlCol="0">
            <a:spAutoFit/>
          </a:bodyPr>
          <a:lstStyle/>
          <a:p>
            <a:pPr defTabSz="681137"/>
            <a:r>
              <a:rPr lang="nb-NO" sz="1341" dirty="0">
                <a:solidFill>
                  <a:prstClr val="black"/>
                </a:solidFill>
                <a:latin typeface="Arial" panose="020B0604020202020204"/>
              </a:rPr>
              <a:t>Virksomhetsarkitektur</a:t>
            </a:r>
          </a:p>
        </p:txBody>
      </p:sp>
      <p:sp>
        <p:nvSpPr>
          <p:cNvPr id="10" name="Tittel 1"/>
          <p:cNvSpPr txBox="1">
            <a:spLocks/>
          </p:cNvSpPr>
          <p:nvPr/>
        </p:nvSpPr>
        <p:spPr>
          <a:xfrm>
            <a:off x="989697" y="258580"/>
            <a:ext cx="8312762" cy="512448"/>
          </a:xfrm>
          <a:prstGeom prst="rect">
            <a:avLst/>
          </a:prstGeom>
        </p:spPr>
        <p:txBody>
          <a:bodyPr>
            <a:normAutofit fontScale="5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1137"/>
            <a:r>
              <a:rPr lang="nb-NO" sz="3278" dirty="0">
                <a:solidFill>
                  <a:prstClr val="black"/>
                </a:solidFill>
                <a:latin typeface="Arial" panose="020B0604020202020204"/>
              </a:rPr>
              <a:t>Sammenheng mellom ulike arkitekturer</a:t>
            </a:r>
            <a:br>
              <a:rPr lang="nb-NO" sz="3278" dirty="0">
                <a:solidFill>
                  <a:prstClr val="black"/>
                </a:solidFill>
                <a:latin typeface="Arial" panose="020B0604020202020204"/>
              </a:rPr>
            </a:br>
            <a:endParaRPr lang="nb-NO" sz="3278" dirty="0">
              <a:solidFill>
                <a:prstClr val="black"/>
              </a:solidFill>
              <a:latin typeface="Arial" panose="020B0604020202020204"/>
            </a:endParaRPr>
          </a:p>
        </p:txBody>
      </p:sp>
      <p:pic>
        <p:nvPicPr>
          <p:cNvPr id="2" name="Bilde 1"/>
          <p:cNvPicPr>
            <a:picLocks noChangeAspect="1"/>
          </p:cNvPicPr>
          <p:nvPr/>
        </p:nvPicPr>
        <p:blipFill>
          <a:blip r:embed="rId3"/>
          <a:stretch>
            <a:fillRect/>
          </a:stretch>
        </p:blipFill>
        <p:spPr>
          <a:xfrm>
            <a:off x="1749873" y="1779430"/>
            <a:ext cx="2240227" cy="1403636"/>
          </a:xfrm>
          <a:prstGeom prst="rect">
            <a:avLst/>
          </a:prstGeom>
        </p:spPr>
      </p:pic>
      <p:pic>
        <p:nvPicPr>
          <p:cNvPr id="3" name="Bilde 2"/>
          <p:cNvPicPr>
            <a:picLocks noChangeAspect="1"/>
          </p:cNvPicPr>
          <p:nvPr/>
        </p:nvPicPr>
        <p:blipFill>
          <a:blip r:embed="rId4"/>
          <a:stretch>
            <a:fillRect/>
          </a:stretch>
        </p:blipFill>
        <p:spPr>
          <a:xfrm>
            <a:off x="5792614" y="2579136"/>
            <a:ext cx="2259186" cy="1451567"/>
          </a:xfrm>
          <a:prstGeom prst="rect">
            <a:avLst/>
          </a:prstGeom>
        </p:spPr>
      </p:pic>
      <p:pic>
        <p:nvPicPr>
          <p:cNvPr id="13" name="Bilde 12"/>
          <p:cNvPicPr>
            <a:picLocks noChangeAspect="1"/>
          </p:cNvPicPr>
          <p:nvPr/>
        </p:nvPicPr>
        <p:blipFill>
          <a:blip r:embed="rId5"/>
          <a:stretch>
            <a:fillRect/>
          </a:stretch>
        </p:blipFill>
        <p:spPr>
          <a:xfrm>
            <a:off x="4444077" y="2306674"/>
            <a:ext cx="1322714" cy="1286890"/>
          </a:xfrm>
          <a:prstGeom prst="rect">
            <a:avLst/>
          </a:prstGeom>
        </p:spPr>
      </p:pic>
      <p:pic>
        <p:nvPicPr>
          <p:cNvPr id="14" name="Bilde 13"/>
          <p:cNvPicPr>
            <a:picLocks noChangeAspect="1"/>
          </p:cNvPicPr>
          <p:nvPr/>
        </p:nvPicPr>
        <p:blipFill>
          <a:blip r:embed="rId6"/>
          <a:stretch>
            <a:fillRect/>
          </a:stretch>
        </p:blipFill>
        <p:spPr>
          <a:xfrm>
            <a:off x="4525463" y="3809391"/>
            <a:ext cx="1165141" cy="564018"/>
          </a:xfrm>
          <a:prstGeom prst="rect">
            <a:avLst/>
          </a:prstGeom>
        </p:spPr>
      </p:pic>
    </p:spTree>
    <p:extLst>
      <p:ext uri="{BB962C8B-B14F-4D97-AF65-F5344CB8AC3E}">
        <p14:creationId xmlns:p14="http://schemas.microsoft.com/office/powerpoint/2010/main" val="13672609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p:txBody>
          <a:bodyPr/>
          <a:lstStyle/>
          <a:p>
            <a:r>
              <a:rPr lang="nb-NO" dirty="0"/>
              <a:t>Organisering av Skatteetaten</a:t>
            </a:r>
          </a:p>
        </p:txBody>
      </p:sp>
      <p:sp>
        <p:nvSpPr>
          <p:cNvPr id="6" name="Plassholder for innhold 5"/>
          <p:cNvSpPr>
            <a:spLocks noGrp="1"/>
          </p:cNvSpPr>
          <p:nvPr>
            <p:ph idx="1"/>
          </p:nvPr>
        </p:nvSpPr>
        <p:spPr/>
        <p:txBody>
          <a:bodyPr/>
          <a:lstStyle/>
          <a:p>
            <a:endParaRPr lang="nb-NO"/>
          </a:p>
        </p:txBody>
      </p:sp>
      <p:pic>
        <p:nvPicPr>
          <p:cNvPr id="4" name="Plassholder for innhold 5"/>
          <p:cNvPicPr>
            <a:picLocks noChangeAspect="1"/>
          </p:cNvPicPr>
          <p:nvPr/>
        </p:nvPicPr>
        <p:blipFill>
          <a:blip r:embed="rId2"/>
          <a:stretch>
            <a:fillRect/>
          </a:stretch>
        </p:blipFill>
        <p:spPr>
          <a:xfrm>
            <a:off x="828378" y="602871"/>
            <a:ext cx="8136904" cy="4349035"/>
          </a:xfrm>
          <a:prstGeom prst="rect">
            <a:avLst/>
          </a:prstGeom>
        </p:spPr>
      </p:pic>
    </p:spTree>
    <p:extLst>
      <p:ext uri="{BB962C8B-B14F-4D97-AF65-F5344CB8AC3E}">
        <p14:creationId xmlns:p14="http://schemas.microsoft.com/office/powerpoint/2010/main" val="19553210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13750" y="378737"/>
            <a:ext cx="8033268" cy="512448"/>
          </a:xfrm>
        </p:spPr>
        <p:txBody>
          <a:bodyPr>
            <a:normAutofit/>
          </a:bodyPr>
          <a:lstStyle/>
          <a:p>
            <a:r>
              <a:rPr lang="nb-NO" sz="2200"/>
              <a:t>Produkt- og prosessledelse (PPL) skal bidra til at vi…</a:t>
            </a:r>
          </a:p>
        </p:txBody>
      </p:sp>
      <p:pic>
        <p:nvPicPr>
          <p:cNvPr id="7" name="Plassholder for innhold 6"/>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11018" y="1246908"/>
            <a:ext cx="7758821" cy="3173558"/>
          </a:xfrm>
        </p:spPr>
      </p:pic>
      <p:sp>
        <p:nvSpPr>
          <p:cNvPr id="24" name="Rektangel 23"/>
          <p:cNvSpPr/>
          <p:nvPr/>
        </p:nvSpPr>
        <p:spPr>
          <a:xfrm>
            <a:off x="732622" y="4650342"/>
            <a:ext cx="7871551" cy="3623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lang="nb-NO" b="1">
                <a:solidFill>
                  <a:prstClr val="white"/>
                </a:solidFill>
                <a:latin typeface="Arial" panose="020B0604020202020204"/>
              </a:rPr>
              <a:t>Snart kommer det mange nye "kunder" på produktene våre </a:t>
            </a:r>
            <a:endParaRPr kumimoji="0" lang="nb-NO" sz="1400" b="1"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6881031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2"/>
          <a:stretch>
            <a:fillRect/>
          </a:stretch>
        </p:blipFill>
        <p:spPr>
          <a:xfrm>
            <a:off x="1277893" y="1068148"/>
            <a:ext cx="6218493" cy="3680845"/>
          </a:xfrm>
          <a:prstGeom prst="rect">
            <a:avLst/>
          </a:prstGeom>
        </p:spPr>
      </p:pic>
      <p:sp>
        <p:nvSpPr>
          <p:cNvPr id="5" name="Ellipse 4"/>
          <p:cNvSpPr/>
          <p:nvPr/>
        </p:nvSpPr>
        <p:spPr>
          <a:xfrm>
            <a:off x="6335307" y="2848157"/>
            <a:ext cx="1176299" cy="1153321"/>
          </a:xfrm>
          <a:prstGeom prst="ellipse">
            <a:avLst/>
          </a:prstGeom>
          <a:solidFill>
            <a:schemeClr val="accent1">
              <a:alpha val="47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Tittel 1"/>
          <p:cNvSpPr txBox="1">
            <a:spLocks/>
          </p:cNvSpPr>
          <p:nvPr/>
        </p:nvSpPr>
        <p:spPr>
          <a:xfrm>
            <a:off x="1422435" y="310504"/>
            <a:ext cx="7723153" cy="512448"/>
          </a:xfrm>
          <a:prstGeom prst="rect">
            <a:avLst/>
          </a:prstGeom>
        </p:spPr>
        <p:txBody>
          <a:bodyPr vert="horz" wrap="square" lIns="0" tIns="0" rIns="0" bIns="0" rtlCol="0" anchor="t" anchorCtr="0">
            <a:normAutofit fontScale="97500"/>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r>
              <a:rPr lang="nb-NO" dirty="0" smtClean="0"/>
              <a:t>Produkt- og prosessledelse</a:t>
            </a:r>
            <a:endParaRPr lang="nb-NO" dirty="0"/>
          </a:p>
        </p:txBody>
      </p:sp>
    </p:spTree>
    <p:extLst>
      <p:ext uri="{BB962C8B-B14F-4D97-AF65-F5344CB8AC3E}">
        <p14:creationId xmlns:p14="http://schemas.microsoft.com/office/powerpoint/2010/main" val="915977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e 16"/>
          <p:cNvGrpSpPr/>
          <p:nvPr/>
        </p:nvGrpSpPr>
        <p:grpSpPr>
          <a:xfrm>
            <a:off x="228148" y="243812"/>
            <a:ext cx="8665440" cy="4541516"/>
            <a:chOff x="140159" y="229412"/>
            <a:chExt cx="8665440" cy="4541516"/>
          </a:xfrm>
        </p:grpSpPr>
        <p:pic>
          <p:nvPicPr>
            <p:cNvPr id="4" name="Bilde 4">
              <a:extLst>
                <a:ext uri="{FF2B5EF4-FFF2-40B4-BE49-F238E27FC236}">
                  <a16:creationId xmlns:a16="http://schemas.microsoft.com/office/drawing/2014/main" id="{BAC04185-F9B8-4DA2-BFAF-A47E44BF4D1B}"/>
                </a:ext>
              </a:extLst>
            </p:cNvPr>
            <p:cNvPicPr>
              <a:picLocks noChangeAspect="1"/>
            </p:cNvPicPr>
            <p:nvPr/>
          </p:nvPicPr>
          <p:blipFill>
            <a:blip r:embed="rId2"/>
            <a:stretch>
              <a:fillRect/>
            </a:stretch>
          </p:blipFill>
          <p:spPr>
            <a:xfrm>
              <a:off x="140159" y="229412"/>
              <a:ext cx="8665440" cy="4541516"/>
            </a:xfrm>
            <a:prstGeom prst="rect">
              <a:avLst/>
            </a:prstGeom>
          </p:spPr>
        </p:pic>
        <p:sp>
          <p:nvSpPr>
            <p:cNvPr id="3" name="Rektangel 2"/>
            <p:cNvSpPr/>
            <p:nvPr/>
          </p:nvSpPr>
          <p:spPr>
            <a:xfrm>
              <a:off x="5839275" y="3972482"/>
              <a:ext cx="2822324" cy="675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18" name="Rektangel 17"/>
          <p:cNvSpPr/>
          <p:nvPr/>
        </p:nvSpPr>
        <p:spPr>
          <a:xfrm>
            <a:off x="1019313" y="370883"/>
            <a:ext cx="7730275" cy="588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1091">
              <a:lnSpc>
                <a:spcPct val="90000"/>
              </a:lnSpc>
              <a:spcBef>
                <a:spcPct val="0"/>
              </a:spcBef>
              <a:defRPr/>
            </a:pPr>
            <a:r>
              <a:rPr lang="nb-NO" sz="3200" b="1" dirty="0" smtClean="0">
                <a:solidFill>
                  <a:prstClr val="black"/>
                </a:solidFill>
              </a:rPr>
              <a:t>Tverrfaglige produkter med dataeiere</a:t>
            </a:r>
            <a:endParaRPr lang="nb-NO" sz="3200" b="1" dirty="0">
              <a:solidFill>
                <a:prstClr val="black"/>
              </a:solidFill>
            </a:endParaRPr>
          </a:p>
        </p:txBody>
      </p:sp>
      <p:grpSp>
        <p:nvGrpSpPr>
          <p:cNvPr id="26" name="Gruppe 25"/>
          <p:cNvGrpSpPr/>
          <p:nvPr/>
        </p:nvGrpSpPr>
        <p:grpSpPr>
          <a:xfrm>
            <a:off x="106646" y="1086677"/>
            <a:ext cx="8917440" cy="3905917"/>
            <a:chOff x="106646" y="1086677"/>
            <a:chExt cx="8917440" cy="3905917"/>
          </a:xfrm>
        </p:grpSpPr>
        <p:sp>
          <p:nvSpPr>
            <p:cNvPr id="20" name="Rektangel 19"/>
            <p:cNvSpPr/>
            <p:nvPr/>
          </p:nvSpPr>
          <p:spPr>
            <a:xfrm>
              <a:off x="106646" y="1086677"/>
              <a:ext cx="8917440" cy="39059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1" name="Gruppe 20"/>
            <p:cNvGrpSpPr/>
            <p:nvPr/>
          </p:nvGrpSpPr>
          <p:grpSpPr>
            <a:xfrm>
              <a:off x="318152" y="2092250"/>
              <a:ext cx="8705934" cy="1631254"/>
              <a:chOff x="1534489" y="1435054"/>
              <a:chExt cx="5989521" cy="445478"/>
            </a:xfrm>
          </p:grpSpPr>
          <p:sp>
            <p:nvSpPr>
              <p:cNvPr id="22" name="Alternativ prosess 21"/>
              <p:cNvSpPr/>
              <p:nvPr/>
            </p:nvSpPr>
            <p:spPr>
              <a:xfrm>
                <a:off x="1534489" y="1435054"/>
                <a:ext cx="1411200" cy="445477"/>
              </a:xfrm>
              <a:prstGeom prst="flowChartAlternateProcess">
                <a:avLst/>
              </a:prstGeom>
              <a:solidFill>
                <a:schemeClr val="accent4"/>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smtClean="0">
                    <a:ln>
                      <a:noFill/>
                    </a:ln>
                    <a:solidFill>
                      <a:prstClr val="white"/>
                    </a:solidFill>
                    <a:effectLst/>
                    <a:uLnTx/>
                    <a:uFillTx/>
                    <a:latin typeface="Arial" panose="020B0604020202020204"/>
                    <a:ea typeface="+mn-ea"/>
                    <a:cs typeface="+mn-cs"/>
                  </a:rPr>
                  <a:t>Opplysninger</a:t>
                </a:r>
                <a:endParaRPr kumimoji="0" lang="nb-NO" sz="2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3" name="Alternativ prosess 22"/>
              <p:cNvSpPr/>
              <p:nvPr/>
            </p:nvSpPr>
            <p:spPr>
              <a:xfrm>
                <a:off x="3030084" y="1435055"/>
                <a:ext cx="1503545" cy="445477"/>
              </a:xfrm>
              <a:prstGeom prst="flowChartAlternateProcess">
                <a:avLst/>
              </a:prstGeom>
              <a:solidFill>
                <a:schemeClr val="accent4"/>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smtClean="0">
                    <a:ln>
                      <a:noFill/>
                    </a:ln>
                    <a:solidFill>
                      <a:prstClr val="white"/>
                    </a:solidFill>
                    <a:effectLst/>
                    <a:uLnTx/>
                    <a:uFillTx/>
                    <a:latin typeface="Arial" panose="020B0604020202020204"/>
                    <a:ea typeface="+mn-ea"/>
                    <a:cs typeface="+mn-cs"/>
                  </a:rPr>
                  <a:t>Skatt</a:t>
                </a:r>
                <a:endParaRPr kumimoji="0" lang="nb-NO" sz="2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4" name="Alternativ prosess 23"/>
              <p:cNvSpPr/>
              <p:nvPr/>
            </p:nvSpPr>
            <p:spPr>
              <a:xfrm>
                <a:off x="4617215" y="1435055"/>
                <a:ext cx="1411200" cy="445477"/>
              </a:xfrm>
              <a:prstGeom prst="flowChartAlternateProcess">
                <a:avLst/>
              </a:prstGeom>
              <a:solidFill>
                <a:schemeClr val="accent4"/>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smtClean="0">
                    <a:ln>
                      <a:noFill/>
                    </a:ln>
                    <a:solidFill>
                      <a:prstClr val="white"/>
                    </a:solidFill>
                    <a:effectLst/>
                    <a:uLnTx/>
                    <a:uFillTx/>
                    <a:latin typeface="Arial" panose="020B0604020202020204"/>
                    <a:ea typeface="+mn-ea"/>
                    <a:cs typeface="+mn-cs"/>
                  </a:rPr>
                  <a:t>Avgift </a:t>
                </a:r>
                <a:endParaRPr kumimoji="0" lang="nb-NO" sz="2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5" name="Alternativ prosess 24"/>
              <p:cNvSpPr/>
              <p:nvPr/>
            </p:nvSpPr>
            <p:spPr>
              <a:xfrm>
                <a:off x="6112810" y="1435055"/>
                <a:ext cx="1411200" cy="445477"/>
              </a:xfrm>
              <a:prstGeom prst="flowChartAlternateProcess">
                <a:avLst/>
              </a:prstGeom>
              <a:solidFill>
                <a:schemeClr val="accent4"/>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smtClean="0">
                    <a:ln>
                      <a:noFill/>
                    </a:ln>
                    <a:solidFill>
                      <a:prstClr val="white"/>
                    </a:solidFill>
                    <a:effectLst/>
                    <a:uLnTx/>
                    <a:uFillTx/>
                    <a:latin typeface="Arial" panose="020B0604020202020204"/>
                    <a:ea typeface="+mn-ea"/>
                    <a:cs typeface="+mn-cs"/>
                  </a:rPr>
                  <a:t>Innkreving</a:t>
                </a:r>
                <a:endParaRPr kumimoji="0" lang="nb-NO" sz="2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grpSp>
    </p:spTree>
    <p:extLst>
      <p:ext uri="{BB962C8B-B14F-4D97-AF65-F5344CB8AC3E}">
        <p14:creationId xmlns:p14="http://schemas.microsoft.com/office/powerpoint/2010/main" val="3309622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42899" y="222674"/>
            <a:ext cx="8371046" cy="512448"/>
          </a:xfrm>
        </p:spPr>
        <p:txBody>
          <a:bodyPr>
            <a:normAutofit fontScale="90000"/>
          </a:bodyPr>
          <a:lstStyle/>
          <a:p>
            <a:pPr algn="ctr"/>
            <a:r>
              <a:rPr lang="nb-NO" sz="3200" dirty="0" smtClean="0"/>
              <a:t>Distribuerte </a:t>
            </a:r>
            <a:r>
              <a:rPr lang="nb-NO" sz="3200" dirty="0"/>
              <a:t>d</a:t>
            </a:r>
            <a:r>
              <a:rPr lang="nb-NO" sz="3200" dirty="0" smtClean="0"/>
              <a:t>ataprodukter eid av tverrfaglige produktteam (Data </a:t>
            </a:r>
            <a:r>
              <a:rPr lang="nb-NO" sz="3200" dirty="0" err="1" smtClean="0"/>
              <a:t>mesh</a:t>
            </a:r>
            <a:r>
              <a:rPr lang="nb-NO" sz="3200" dirty="0" smtClean="0"/>
              <a:t>)</a:t>
            </a:r>
            <a:br>
              <a:rPr lang="nb-NO" sz="3200" dirty="0" smtClean="0"/>
            </a:br>
            <a:endParaRPr lang="nb-NO" sz="3200" dirty="0"/>
          </a:p>
        </p:txBody>
      </p:sp>
      <p:sp>
        <p:nvSpPr>
          <p:cNvPr id="3" name="Plassholder for innhold 2"/>
          <p:cNvSpPr>
            <a:spLocks noGrp="1"/>
          </p:cNvSpPr>
          <p:nvPr>
            <p:ph idx="1"/>
          </p:nvPr>
        </p:nvSpPr>
        <p:spPr>
          <a:xfrm>
            <a:off x="415700" y="1224730"/>
            <a:ext cx="8371046" cy="1748400"/>
          </a:xfrm>
        </p:spPr>
        <p:txBody>
          <a:bodyPr>
            <a:normAutofit/>
          </a:bodyPr>
          <a:lstStyle/>
          <a:p>
            <a:r>
              <a:rPr lang="nb-NO" sz="1600" i="1" dirty="0" err="1" smtClean="0"/>
              <a:t>distributed</a:t>
            </a:r>
            <a:r>
              <a:rPr lang="nb-NO" sz="1600" i="1" dirty="0" smtClean="0"/>
              <a:t> </a:t>
            </a:r>
            <a:r>
              <a:rPr lang="nb-NO" sz="1600" i="1" dirty="0"/>
              <a:t>data </a:t>
            </a:r>
            <a:r>
              <a:rPr lang="nb-NO" sz="1600" i="1" dirty="0" err="1"/>
              <a:t>products</a:t>
            </a:r>
            <a:r>
              <a:rPr lang="nb-NO" sz="1600" dirty="0"/>
              <a:t> </a:t>
            </a:r>
            <a:r>
              <a:rPr lang="nb-NO" sz="1600" dirty="0" err="1"/>
              <a:t>oriented</a:t>
            </a:r>
            <a:r>
              <a:rPr lang="nb-NO" sz="1600" dirty="0"/>
              <a:t> </a:t>
            </a:r>
            <a:r>
              <a:rPr lang="nb-NO" sz="1600" dirty="0" err="1"/>
              <a:t>around</a:t>
            </a:r>
            <a:r>
              <a:rPr lang="nb-NO" sz="1600" dirty="0"/>
              <a:t> </a:t>
            </a:r>
            <a:r>
              <a:rPr lang="nb-NO" sz="1600" dirty="0" err="1"/>
              <a:t>domains</a:t>
            </a:r>
            <a:r>
              <a:rPr lang="nb-NO" sz="1600" dirty="0"/>
              <a:t> and </a:t>
            </a:r>
            <a:r>
              <a:rPr lang="nb-NO" sz="1600" dirty="0" err="1"/>
              <a:t>owned</a:t>
            </a:r>
            <a:r>
              <a:rPr lang="nb-NO" sz="1600" dirty="0"/>
              <a:t> by </a:t>
            </a:r>
            <a:r>
              <a:rPr lang="nb-NO" sz="1600" i="1" dirty="0" err="1"/>
              <a:t>independent</a:t>
            </a:r>
            <a:r>
              <a:rPr lang="nb-NO" sz="1600" i="1" dirty="0"/>
              <a:t> cross-</a:t>
            </a:r>
            <a:r>
              <a:rPr lang="nb-NO" sz="1600" i="1" dirty="0" err="1"/>
              <a:t>functional</a:t>
            </a:r>
            <a:r>
              <a:rPr lang="nb-NO" sz="1600" i="1" dirty="0"/>
              <a:t> teams</a:t>
            </a:r>
            <a:r>
              <a:rPr lang="nb-NO" sz="1600" dirty="0"/>
              <a:t> </a:t>
            </a:r>
            <a:r>
              <a:rPr lang="nb-NO" sz="1600" dirty="0" err="1"/>
              <a:t>who</a:t>
            </a:r>
            <a:r>
              <a:rPr lang="nb-NO" sz="1600" dirty="0"/>
              <a:t> have </a:t>
            </a:r>
            <a:r>
              <a:rPr lang="nb-NO" sz="1600" dirty="0" err="1"/>
              <a:t>embedded</a:t>
            </a:r>
            <a:r>
              <a:rPr lang="nb-NO" sz="1600" dirty="0"/>
              <a:t> data </a:t>
            </a:r>
            <a:r>
              <a:rPr lang="nb-NO" sz="1600" dirty="0" err="1"/>
              <a:t>engineers</a:t>
            </a:r>
            <a:r>
              <a:rPr lang="nb-NO" sz="1600" dirty="0"/>
              <a:t> and data </a:t>
            </a:r>
            <a:r>
              <a:rPr lang="nb-NO" sz="1600" dirty="0" err="1"/>
              <a:t>product</a:t>
            </a:r>
            <a:r>
              <a:rPr lang="nb-NO" sz="1600" dirty="0"/>
              <a:t> </a:t>
            </a:r>
            <a:r>
              <a:rPr lang="nb-NO" sz="1600" dirty="0" err="1"/>
              <a:t>owners</a:t>
            </a:r>
            <a:r>
              <a:rPr lang="nb-NO" sz="1600" dirty="0"/>
              <a:t>, </a:t>
            </a:r>
            <a:r>
              <a:rPr lang="nb-NO" sz="1600" dirty="0" err="1"/>
              <a:t>using</a:t>
            </a:r>
            <a:r>
              <a:rPr lang="nb-NO" sz="1600" dirty="0"/>
              <a:t> </a:t>
            </a:r>
            <a:r>
              <a:rPr lang="nb-NO" sz="1600" dirty="0" err="1"/>
              <a:t>common</a:t>
            </a:r>
            <a:r>
              <a:rPr lang="nb-NO" sz="1600" dirty="0"/>
              <a:t> </a:t>
            </a:r>
            <a:r>
              <a:rPr lang="nb-NO" sz="1600" i="1" dirty="0"/>
              <a:t>data </a:t>
            </a:r>
            <a:r>
              <a:rPr lang="nb-NO" sz="1600" i="1" dirty="0" err="1"/>
              <a:t>infrastructure</a:t>
            </a:r>
            <a:r>
              <a:rPr lang="nb-NO" sz="1600" dirty="0"/>
              <a:t> as a </a:t>
            </a:r>
            <a:r>
              <a:rPr lang="nb-NO" sz="1600" dirty="0" err="1"/>
              <a:t>platform</a:t>
            </a:r>
            <a:r>
              <a:rPr lang="nb-NO" sz="1600" dirty="0"/>
              <a:t> to host, prep and serve </a:t>
            </a:r>
            <a:r>
              <a:rPr lang="nb-NO" sz="1600" dirty="0" err="1"/>
              <a:t>their</a:t>
            </a:r>
            <a:r>
              <a:rPr lang="nb-NO" sz="1600" dirty="0"/>
              <a:t> data </a:t>
            </a:r>
            <a:r>
              <a:rPr lang="nb-NO" sz="1600" dirty="0" err="1"/>
              <a:t>assets</a:t>
            </a:r>
            <a:r>
              <a:rPr lang="nb-NO" sz="1600" dirty="0"/>
              <a:t>.</a:t>
            </a:r>
          </a:p>
          <a:p>
            <a:endParaRPr lang="nb-NO" sz="1600" dirty="0"/>
          </a:p>
        </p:txBody>
      </p:sp>
      <p:pic>
        <p:nvPicPr>
          <p:cNvPr id="1026" name="Bilde 1" descr="https://martinfowler.com/articles/data-monolith-to-mesh/data-mesh.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2563" y="2098930"/>
            <a:ext cx="4620637" cy="2609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387890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667566" y="512701"/>
            <a:ext cx="6076880" cy="512448"/>
          </a:xfrm>
        </p:spPr>
        <p:txBody>
          <a:bodyPr>
            <a:normAutofit/>
          </a:bodyPr>
          <a:lstStyle/>
          <a:p>
            <a:r>
              <a:rPr lang="nb-NO" dirty="0" smtClean="0"/>
              <a:t>Data </a:t>
            </a:r>
            <a:r>
              <a:rPr lang="nb-NO" dirty="0" err="1" smtClean="0"/>
              <a:t>mesh</a:t>
            </a:r>
            <a:r>
              <a:rPr lang="nb-NO" dirty="0" smtClean="0"/>
              <a:t> - Essensen</a:t>
            </a:r>
            <a:r>
              <a:rPr lang="nb-NO" dirty="0"/>
              <a:t>! </a:t>
            </a:r>
          </a:p>
        </p:txBody>
      </p:sp>
      <p:sp>
        <p:nvSpPr>
          <p:cNvPr id="3" name="Plassholder for innhold 2"/>
          <p:cNvSpPr>
            <a:spLocks noGrp="1"/>
          </p:cNvSpPr>
          <p:nvPr>
            <p:ph idx="1"/>
          </p:nvPr>
        </p:nvSpPr>
        <p:spPr>
          <a:xfrm>
            <a:off x="320692" y="1589314"/>
            <a:ext cx="8371046" cy="2771394"/>
          </a:xfrm>
        </p:spPr>
        <p:txBody>
          <a:bodyPr/>
          <a:lstStyle/>
          <a:p>
            <a:r>
              <a:rPr lang="nb-NO" dirty="0"/>
              <a:t>De som kan domenet og fagsystemet får også ansvaret for å tilrettelegge for analyse og deling</a:t>
            </a:r>
          </a:p>
          <a:p>
            <a:endParaRPr lang="nb-NO" dirty="0"/>
          </a:p>
          <a:p>
            <a:r>
              <a:rPr lang="nb-NO" dirty="0"/>
              <a:t>Da merker domenet selv forespørslene og behovene utenfra</a:t>
            </a:r>
          </a:p>
          <a:p>
            <a:endParaRPr lang="nb-NO" dirty="0"/>
          </a:p>
          <a:p>
            <a:r>
              <a:rPr lang="nb-NO" dirty="0"/>
              <a:t>De tar selv initiativet til å sikre ting er på stell når de leverer fra seg data</a:t>
            </a:r>
          </a:p>
          <a:p>
            <a:endParaRPr lang="nb-NO" dirty="0"/>
          </a:p>
          <a:p>
            <a:endParaRPr lang="nb-NO" dirty="0"/>
          </a:p>
          <a:p>
            <a:endParaRPr lang="nb-NO" dirty="0"/>
          </a:p>
          <a:p>
            <a:endParaRPr lang="nb-NO" dirty="0"/>
          </a:p>
        </p:txBody>
      </p:sp>
      <p:sp>
        <p:nvSpPr>
          <p:cNvPr id="4" name="Tittel 1"/>
          <p:cNvSpPr txBox="1">
            <a:spLocks/>
          </p:cNvSpPr>
          <p:nvPr/>
        </p:nvSpPr>
        <p:spPr>
          <a:xfrm>
            <a:off x="70658" y="3840251"/>
            <a:ext cx="9074930" cy="703210"/>
          </a:xfrm>
          <a:prstGeom prst="rect">
            <a:avLst/>
          </a:prstGeom>
        </p:spPr>
        <p:txBody>
          <a:bodyPr vert="horz" wrap="square" lIns="0" tIns="0" rIns="0" bIns="0" rtlCol="0" anchor="t" anchorCtr="0">
            <a:noAutofit/>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r>
              <a:rPr lang="nb-NO" sz="3200" dirty="0" smtClean="0"/>
              <a:t>Tverrfaglige produktteam med tydelige ansvar for primær og sekundærbruk av data løser det </a:t>
            </a:r>
            <a:endParaRPr lang="nb-NO" sz="3200" dirty="0"/>
          </a:p>
        </p:txBody>
      </p:sp>
    </p:spTree>
    <p:extLst>
      <p:ext uri="{BB962C8B-B14F-4D97-AF65-F5344CB8AC3E}">
        <p14:creationId xmlns:p14="http://schemas.microsoft.com/office/powerpoint/2010/main" val="1473942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994095" y="342508"/>
            <a:ext cx="8371046" cy="512448"/>
          </a:xfrm>
        </p:spPr>
        <p:txBody>
          <a:bodyPr/>
          <a:lstStyle/>
          <a:p>
            <a:r>
              <a:rPr lang="nb-NO" dirty="0" err="1" smtClean="0"/>
              <a:t>Skyklar</a:t>
            </a:r>
            <a:r>
              <a:rPr lang="nb-NO" dirty="0" smtClean="0"/>
              <a:t>? </a:t>
            </a:r>
            <a:endParaRPr lang="nb-NO" dirty="0"/>
          </a:p>
        </p:txBody>
      </p:sp>
      <p:pic>
        <p:nvPicPr>
          <p:cNvPr id="4" name="Bilde 3"/>
          <p:cNvPicPr>
            <a:picLocks noChangeAspect="1"/>
          </p:cNvPicPr>
          <p:nvPr/>
        </p:nvPicPr>
        <p:blipFill>
          <a:blip r:embed="rId2"/>
          <a:stretch>
            <a:fillRect/>
          </a:stretch>
        </p:blipFill>
        <p:spPr>
          <a:xfrm>
            <a:off x="1073520" y="945741"/>
            <a:ext cx="6903360" cy="3184244"/>
          </a:xfrm>
          <a:prstGeom prst="rect">
            <a:avLst/>
          </a:prstGeom>
        </p:spPr>
      </p:pic>
      <p:sp>
        <p:nvSpPr>
          <p:cNvPr id="5" name="Tittel 1"/>
          <p:cNvSpPr txBox="1">
            <a:spLocks/>
          </p:cNvSpPr>
          <p:nvPr/>
        </p:nvSpPr>
        <p:spPr>
          <a:xfrm>
            <a:off x="172800" y="4326915"/>
            <a:ext cx="8906400" cy="783230"/>
          </a:xfrm>
          <a:prstGeom prst="rect">
            <a:avLst/>
          </a:prstGeom>
        </p:spPr>
        <p:txBody>
          <a:bodyPr vert="horz" wrap="square" lIns="0" tIns="0" rIns="0" bIns="0" rtlCol="0" anchor="t" anchorCtr="0">
            <a:normAutofit fontScale="70000" lnSpcReduction="20000"/>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r>
              <a:rPr lang="nb-NO" dirty="0" smtClean="0"/>
              <a:t>Vi jobber mot ny informasjonsplattform i Sky men juristene har enda ikke gitt "Go" for å legge data der..  </a:t>
            </a:r>
            <a:endParaRPr lang="nb-NO" dirty="0"/>
          </a:p>
        </p:txBody>
      </p:sp>
    </p:spTree>
    <p:extLst>
      <p:ext uri="{BB962C8B-B14F-4D97-AF65-F5344CB8AC3E}">
        <p14:creationId xmlns:p14="http://schemas.microsoft.com/office/powerpoint/2010/main" val="2935553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endParaRPr lang="nb-NO"/>
          </a:p>
        </p:txBody>
      </p:sp>
      <p:sp>
        <p:nvSpPr>
          <p:cNvPr id="3" name="Undertittel 2"/>
          <p:cNvSpPr>
            <a:spLocks noGrp="1"/>
          </p:cNvSpPr>
          <p:nvPr>
            <p:ph type="subTitle" idx="1"/>
          </p:nvPr>
        </p:nvSpPr>
        <p:spPr/>
        <p:txBody>
          <a:bodyPr>
            <a:normAutofit lnSpcReduction="10000"/>
          </a:bodyPr>
          <a:lstStyle/>
          <a:p>
            <a:endParaRPr lang="nb-NO"/>
          </a:p>
        </p:txBody>
      </p:sp>
      <p:pic>
        <p:nvPicPr>
          <p:cNvPr id="4" name="Bilde 3"/>
          <p:cNvPicPr>
            <a:picLocks noChangeAspect="1"/>
          </p:cNvPicPr>
          <p:nvPr/>
        </p:nvPicPr>
        <p:blipFill>
          <a:blip r:embed="rId2"/>
          <a:stretch>
            <a:fillRect/>
          </a:stretch>
        </p:blipFill>
        <p:spPr>
          <a:xfrm>
            <a:off x="260711" y="177070"/>
            <a:ext cx="8661411" cy="4833067"/>
          </a:xfrm>
          <a:prstGeom prst="rect">
            <a:avLst/>
          </a:prstGeom>
        </p:spPr>
      </p:pic>
    </p:spTree>
    <p:extLst>
      <p:ext uri="{BB962C8B-B14F-4D97-AF65-F5344CB8AC3E}">
        <p14:creationId xmlns:p14="http://schemas.microsoft.com/office/powerpoint/2010/main" val="21657144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58070" y="946650"/>
            <a:ext cx="8371046" cy="512448"/>
          </a:xfrm>
        </p:spPr>
        <p:txBody>
          <a:bodyPr/>
          <a:lstStyle/>
          <a:p>
            <a:r>
              <a:rPr lang="nb-NO" dirty="0"/>
              <a:t>Mye er på plass</a:t>
            </a:r>
          </a:p>
        </p:txBody>
      </p:sp>
      <p:sp>
        <p:nvSpPr>
          <p:cNvPr id="6" name="Rektangel 5"/>
          <p:cNvSpPr/>
          <p:nvPr/>
        </p:nvSpPr>
        <p:spPr>
          <a:xfrm>
            <a:off x="4479225" y="1469099"/>
            <a:ext cx="4185523" cy="20306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a:t>MEN… </a:t>
            </a:r>
          </a:p>
          <a:p>
            <a:pPr algn="ctr"/>
            <a:endParaRPr lang="nb-NO" sz="500" dirty="0"/>
          </a:p>
          <a:p>
            <a:pPr marL="171450" indent="-171450">
              <a:buFont typeface="Arial" panose="020B0604020202020204" pitchFamily="34" charset="0"/>
              <a:buChar char="•"/>
            </a:pPr>
            <a:r>
              <a:rPr lang="nb-NO" sz="1100" dirty="0"/>
              <a:t>Fagområdet er ikke godt nok forstått internt</a:t>
            </a:r>
          </a:p>
          <a:p>
            <a:pPr marL="171450" indent="-171450">
              <a:buFont typeface="Arial" panose="020B0604020202020204" pitchFamily="34" charset="0"/>
              <a:buChar char="•"/>
            </a:pPr>
            <a:r>
              <a:rPr lang="nb-NO" sz="1100" dirty="0"/>
              <a:t>Rammeverk er ikke helhetlig implementert</a:t>
            </a:r>
          </a:p>
          <a:p>
            <a:pPr marL="171450" indent="-171450">
              <a:buFont typeface="Arial" panose="020B0604020202020204" pitchFamily="34" charset="0"/>
              <a:buChar char="•"/>
            </a:pPr>
            <a:r>
              <a:rPr lang="nb-NO" sz="1100" dirty="0"/>
              <a:t>Roller og prosesser er ikke integrert i linjen</a:t>
            </a:r>
          </a:p>
          <a:p>
            <a:pPr marL="171450" indent="-171450">
              <a:buFont typeface="Arial" panose="020B0604020202020204" pitchFamily="34" charset="0"/>
              <a:buChar char="•"/>
            </a:pPr>
            <a:r>
              <a:rPr lang="nb-NO" sz="1100" dirty="0"/>
              <a:t>Fagområdet er ikke godt nok integrert i prosjektmetode</a:t>
            </a:r>
          </a:p>
          <a:p>
            <a:pPr marL="171450" indent="-171450">
              <a:buFont typeface="Arial" panose="020B0604020202020204" pitchFamily="34" charset="0"/>
              <a:buChar char="•"/>
            </a:pPr>
            <a:r>
              <a:rPr lang="nb-NO" sz="1100" dirty="0"/>
              <a:t>Det er ulike perspektiver og jobbes i ulike retninger</a:t>
            </a:r>
          </a:p>
          <a:p>
            <a:pPr marL="171450" indent="-171450">
              <a:buFont typeface="Arial" panose="020B0604020202020204" pitchFamily="34" charset="0"/>
              <a:buChar char="•"/>
            </a:pPr>
            <a:r>
              <a:rPr lang="nb-NO" sz="1100" dirty="0"/>
              <a:t>Det er mangel på styring (governance)</a:t>
            </a:r>
            <a:endParaRPr lang="nb-NO" sz="1000" dirty="0"/>
          </a:p>
        </p:txBody>
      </p:sp>
      <p:sp>
        <p:nvSpPr>
          <p:cNvPr id="8" name="TekstSylinder 7"/>
          <p:cNvSpPr txBox="1"/>
          <p:nvPr/>
        </p:nvSpPr>
        <p:spPr>
          <a:xfrm>
            <a:off x="358070" y="3774137"/>
            <a:ext cx="3569245" cy="938719"/>
          </a:xfrm>
          <a:prstGeom prst="rect">
            <a:avLst/>
          </a:prstGeom>
          <a:noFill/>
        </p:spPr>
        <p:txBody>
          <a:bodyPr wrap="square" rtlCol="0">
            <a:spAutoFit/>
          </a:bodyPr>
          <a:lstStyle/>
          <a:p>
            <a:pPr marL="171450" indent="-171450">
              <a:buFont typeface="Arial" panose="020B0604020202020204" pitchFamily="34" charset="0"/>
              <a:buChar char="•"/>
            </a:pPr>
            <a:r>
              <a:rPr lang="nb-NO" sz="1100" dirty="0"/>
              <a:t>Data er kritisk for samfunnsoppdraget</a:t>
            </a:r>
          </a:p>
          <a:p>
            <a:pPr marL="171450" indent="-171450">
              <a:buFont typeface="Arial" panose="020B0604020202020204" pitchFamily="34" charset="0"/>
              <a:buChar char="•"/>
            </a:pPr>
            <a:r>
              <a:rPr lang="nb-NO" sz="1100" dirty="0"/>
              <a:t>Informasjonsforvaltning er gitt et strategisk fokus</a:t>
            </a:r>
          </a:p>
          <a:p>
            <a:pPr marL="171450" indent="-171450">
              <a:buFont typeface="Arial" panose="020B0604020202020204" pitchFamily="34" charset="0"/>
              <a:buChar char="•"/>
            </a:pPr>
            <a:r>
              <a:rPr lang="nb-NO" sz="1100" dirty="0"/>
              <a:t>Funksjonen er tatt inn i organisasjonskartet</a:t>
            </a:r>
          </a:p>
          <a:p>
            <a:pPr marL="171450" indent="-171450">
              <a:buFont typeface="Arial" panose="020B0604020202020204" pitchFamily="34" charset="0"/>
              <a:buChar char="•"/>
            </a:pPr>
            <a:r>
              <a:rPr lang="nb-NO" sz="1100" dirty="0"/>
              <a:t>Bred og god kompetanse finnes internt</a:t>
            </a:r>
          </a:p>
          <a:p>
            <a:pPr marL="171450" indent="-171450">
              <a:buFont typeface="Arial" panose="020B0604020202020204" pitchFamily="34" charset="0"/>
              <a:buChar char="•"/>
            </a:pPr>
            <a:r>
              <a:rPr lang="nb-NO" sz="1100" dirty="0"/>
              <a:t>Det er utarbeidet rammeverk og gode beskrivelser</a:t>
            </a:r>
          </a:p>
        </p:txBody>
      </p:sp>
      <p:pic>
        <p:nvPicPr>
          <p:cNvPr id="40" name="Bilde 39"/>
          <p:cNvPicPr>
            <a:picLocks noChangeAspect="1"/>
          </p:cNvPicPr>
          <p:nvPr/>
        </p:nvPicPr>
        <p:blipFill>
          <a:blip r:embed="rId2"/>
          <a:stretch>
            <a:fillRect/>
          </a:stretch>
        </p:blipFill>
        <p:spPr>
          <a:xfrm>
            <a:off x="208184" y="1467151"/>
            <a:ext cx="4174709" cy="2123594"/>
          </a:xfrm>
          <a:prstGeom prst="rect">
            <a:avLst/>
          </a:prstGeom>
        </p:spPr>
      </p:pic>
      <p:sp>
        <p:nvSpPr>
          <p:cNvPr id="68" name="Vinkeltegn 67"/>
          <p:cNvSpPr/>
          <p:nvPr/>
        </p:nvSpPr>
        <p:spPr>
          <a:xfrm rot="5400000">
            <a:off x="6012906" y="2875650"/>
            <a:ext cx="639009" cy="1634023"/>
          </a:xfrm>
          <a:prstGeom prst="chevron">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solidFill>
                <a:schemeClr val="tx1"/>
              </a:solidFill>
            </a:endParaRPr>
          </a:p>
        </p:txBody>
      </p:sp>
      <p:sp>
        <p:nvSpPr>
          <p:cNvPr id="69" name="TekstSylinder 68"/>
          <p:cNvSpPr txBox="1"/>
          <p:nvPr/>
        </p:nvSpPr>
        <p:spPr>
          <a:xfrm>
            <a:off x="5958408" y="4032169"/>
            <a:ext cx="1928446" cy="577081"/>
          </a:xfrm>
          <a:prstGeom prst="rect">
            <a:avLst/>
          </a:prstGeom>
          <a:noFill/>
        </p:spPr>
        <p:txBody>
          <a:bodyPr wrap="square" rtlCol="0">
            <a:spAutoFit/>
          </a:bodyPr>
          <a:lstStyle/>
          <a:p>
            <a:r>
              <a:rPr lang="nb-NO" sz="1050" dirty="0"/>
              <a:t>Utarbeide et mandat som beskriver hva, hvorfor og hvordan dette kan løses.</a:t>
            </a:r>
          </a:p>
        </p:txBody>
      </p:sp>
      <p:pic>
        <p:nvPicPr>
          <p:cNvPr id="20" name="Grafikk 19" descr="Dokument med heldekkende fyll">
            <a:extLst>
              <a:ext uri="{FF2B5EF4-FFF2-40B4-BE49-F238E27FC236}">
                <a16:creationId xmlns:a16="http://schemas.microsoft.com/office/drawing/2014/main" id="{2235B2FB-4A38-4206-B5EE-0773AAB03DF8}"/>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264937" y="3873783"/>
            <a:ext cx="772412" cy="772412"/>
          </a:xfrm>
          <a:prstGeom prst="rect">
            <a:avLst/>
          </a:prstGeom>
        </p:spPr>
      </p:pic>
    </p:spTree>
    <p:extLst>
      <p:ext uri="{BB962C8B-B14F-4D97-AF65-F5344CB8AC3E}">
        <p14:creationId xmlns:p14="http://schemas.microsoft.com/office/powerpoint/2010/main" val="4189145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500"/>
                                        <p:tgtEl>
                                          <p:spTgt spid="68"/>
                                        </p:tgtEl>
                                      </p:cBhvr>
                                    </p:animEffect>
                                  </p:childTnLst>
                                </p:cTn>
                              </p:par>
                              <p:par>
                                <p:cTn id="13" presetID="10"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9"/>
                                        </p:tgtEl>
                                        <p:attrNameLst>
                                          <p:attrName>style.visibility</p:attrName>
                                        </p:attrNameLst>
                                      </p:cBhvr>
                                      <p:to>
                                        <p:strVal val="visible"/>
                                      </p:to>
                                    </p:set>
                                    <p:animEffect transition="in" filter="fade">
                                      <p:cBhvr>
                                        <p:cTn id="18"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8" grpId="0" animBg="1"/>
      <p:bldP spid="69"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2" descr="Et bilde som inneholder tavle&#10;&#10;Automatisk generert beskrivelse">
            <a:extLst>
              <a:ext uri="{FF2B5EF4-FFF2-40B4-BE49-F238E27FC236}">
                <a16:creationId xmlns:a16="http://schemas.microsoft.com/office/drawing/2014/main" id="{9CDEBA92-8099-4C5C-B469-69A538E4372E}"/>
              </a:ext>
            </a:extLst>
          </p:cNvPr>
          <p:cNvPicPr>
            <a:picLocks noChangeAspect="1"/>
          </p:cNvPicPr>
          <p:nvPr/>
        </p:nvPicPr>
        <p:blipFill>
          <a:blip r:embed="rId3"/>
          <a:stretch>
            <a:fillRect/>
          </a:stretch>
        </p:blipFill>
        <p:spPr>
          <a:xfrm>
            <a:off x="5713805" y="1090473"/>
            <a:ext cx="3280030" cy="2795035"/>
          </a:xfrm>
          <a:prstGeom prst="rect">
            <a:avLst/>
          </a:prstGeom>
        </p:spPr>
      </p:pic>
      <p:sp>
        <p:nvSpPr>
          <p:cNvPr id="37" name="Plassholder for innhold 2">
            <a:extLst>
              <a:ext uri="{FF2B5EF4-FFF2-40B4-BE49-F238E27FC236}">
                <a16:creationId xmlns:a16="http://schemas.microsoft.com/office/drawing/2014/main" id="{A6F3570C-563A-47F0-8497-92F2AAF6796E}"/>
              </a:ext>
            </a:extLst>
          </p:cNvPr>
          <p:cNvSpPr>
            <a:spLocks noGrp="1"/>
          </p:cNvSpPr>
          <p:nvPr>
            <p:ph idx="1"/>
          </p:nvPr>
        </p:nvSpPr>
        <p:spPr>
          <a:xfrm>
            <a:off x="531019" y="596425"/>
            <a:ext cx="6369456" cy="4110411"/>
          </a:xfrm>
          <a:ln>
            <a:noFill/>
          </a:ln>
        </p:spPr>
        <p:txBody>
          <a:bodyPr vert="horz" lIns="53633" tIns="53633" rIns="0" bIns="0" rtlCol="0" anchor="t">
            <a:normAutofit/>
          </a:bodyPr>
          <a:lstStyle/>
          <a:p>
            <a:pPr marL="0" indent="0">
              <a:buNone/>
            </a:pPr>
            <a:endParaRPr lang="nb-NO">
              <a:cs typeface="Arial"/>
            </a:endParaRPr>
          </a:p>
          <a:p>
            <a:pPr marL="168865" indent="-168865"/>
            <a:r>
              <a:rPr lang="nb-NO">
                <a:cs typeface="Arial"/>
              </a:rPr>
              <a:t>Vi har ikke en oversikt over hvilken informasjon vi har </a:t>
            </a:r>
          </a:p>
          <a:p>
            <a:pPr marL="507068" lvl="1" indent="-168865"/>
            <a:endParaRPr lang="nb-NO" sz="1564">
              <a:cs typeface="Arial"/>
            </a:endParaRPr>
          </a:p>
          <a:p>
            <a:pPr marL="168865" indent="-168865"/>
            <a:r>
              <a:rPr lang="nb-NO">
                <a:cs typeface="Arial"/>
              </a:rPr>
              <a:t>Vi opplever store utfordringer med å sammenstille </a:t>
            </a:r>
          </a:p>
          <a:p>
            <a:pPr marL="0" indent="0">
              <a:buNone/>
            </a:pPr>
            <a:r>
              <a:rPr lang="nb-NO">
                <a:cs typeface="Arial"/>
              </a:rPr>
              <a:t>   på tvers</a:t>
            </a:r>
          </a:p>
          <a:p>
            <a:pPr marL="168865" indent="-168865"/>
            <a:endParaRPr lang="nb-NO">
              <a:cs typeface="Arial"/>
            </a:endParaRPr>
          </a:p>
          <a:p>
            <a:pPr marL="168865" indent="-168865"/>
            <a:r>
              <a:rPr lang="nb-NO">
                <a:cs typeface="Arial"/>
              </a:rPr>
              <a:t>Sporing – hvilken informasjon brukes til hva? </a:t>
            </a:r>
          </a:p>
          <a:p>
            <a:pPr marL="0" indent="0">
              <a:buNone/>
            </a:pPr>
            <a:endParaRPr lang="nb-NO">
              <a:ea typeface="+mn-lt"/>
              <a:cs typeface="+mn-lt"/>
            </a:endParaRPr>
          </a:p>
          <a:p>
            <a:pPr marL="168865" indent="-168865"/>
            <a:r>
              <a:rPr lang="nb-NO">
                <a:cs typeface="Arial"/>
              </a:rPr>
              <a:t>Ressurskrevende å tilrettelegge for analyse, AI og maskinlæring </a:t>
            </a:r>
          </a:p>
          <a:p>
            <a:pPr marL="168865" indent="-168865"/>
            <a:endParaRPr lang="nb-NO">
              <a:cs typeface="Arial"/>
            </a:endParaRPr>
          </a:p>
          <a:p>
            <a:pPr marL="168865" indent="-168865"/>
            <a:r>
              <a:rPr lang="nb-NO">
                <a:cs typeface="Arial"/>
              </a:rPr>
              <a:t>Prosjekt og linje må etterleve føringene og oppdatere kartet </a:t>
            </a:r>
          </a:p>
          <a:p>
            <a:pPr marL="168865" indent="-168865"/>
            <a:endParaRPr lang="nb-NO">
              <a:cs typeface="Arial"/>
            </a:endParaRPr>
          </a:p>
          <a:p>
            <a:pPr marL="168865" indent="-168865"/>
            <a:endParaRPr lang="nb-NO">
              <a:cs typeface="Arial"/>
            </a:endParaRPr>
          </a:p>
          <a:p>
            <a:pPr marL="168865" indent="-168865"/>
            <a:endParaRPr lang="nb-NO">
              <a:cs typeface="Arial"/>
            </a:endParaRPr>
          </a:p>
          <a:p>
            <a:pPr marL="168865" indent="-168865"/>
            <a:endParaRPr lang="nb-NO">
              <a:cs typeface="Arial"/>
            </a:endParaRPr>
          </a:p>
        </p:txBody>
      </p:sp>
      <p:sp>
        <p:nvSpPr>
          <p:cNvPr id="24" name="Tittel 1">
            <a:extLst>
              <a:ext uri="{FF2B5EF4-FFF2-40B4-BE49-F238E27FC236}">
                <a16:creationId xmlns:a16="http://schemas.microsoft.com/office/drawing/2014/main" id="{817DDD3D-2E62-4C4B-A176-A07A98DB51E0}"/>
              </a:ext>
            </a:extLst>
          </p:cNvPr>
          <p:cNvSpPr>
            <a:spLocks noGrp="1"/>
          </p:cNvSpPr>
          <p:nvPr>
            <p:ph type="title"/>
          </p:nvPr>
        </p:nvSpPr>
        <p:spPr>
          <a:xfrm>
            <a:off x="445086" y="249450"/>
            <a:ext cx="8365073" cy="346249"/>
          </a:xfrm>
        </p:spPr>
        <p:txBody>
          <a:bodyPr>
            <a:normAutofit/>
          </a:bodyPr>
          <a:lstStyle/>
          <a:p>
            <a:r>
              <a:rPr lang="nb-NO" sz="2458"/>
              <a:t>Kartet må følge terrenget - Informasjonsarkitektur</a:t>
            </a:r>
          </a:p>
        </p:txBody>
      </p:sp>
    </p:spTree>
    <p:extLst>
      <p:ext uri="{BB962C8B-B14F-4D97-AF65-F5344CB8AC3E}">
        <p14:creationId xmlns:p14="http://schemas.microsoft.com/office/powerpoint/2010/main" val="427047294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84332" y="268201"/>
            <a:ext cx="7888070" cy="987422"/>
          </a:xfrm>
        </p:spPr>
        <p:txBody>
          <a:bodyPr/>
          <a:lstStyle/>
          <a:p>
            <a:r>
              <a:rPr lang="nb-NO" sz="2800" dirty="0" smtClean="0"/>
              <a:t>	Informasjons(metadata-)</a:t>
            </a:r>
            <a:r>
              <a:rPr lang="nb-NO" sz="2800" dirty="0" err="1" smtClean="0"/>
              <a:t>repository</a:t>
            </a:r>
            <a:r>
              <a:rPr lang="nb-NO" sz="2800" dirty="0" smtClean="0"/>
              <a:t> </a:t>
            </a:r>
            <a:endParaRPr lang="nb-NO" sz="2800" dirty="0"/>
          </a:p>
        </p:txBody>
      </p:sp>
      <p:pic>
        <p:nvPicPr>
          <p:cNvPr id="6" name="Plassholder for innhold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35504" y="930019"/>
            <a:ext cx="8676603" cy="4006648"/>
          </a:xfrm>
        </p:spPr>
      </p:pic>
      <p:sp>
        <p:nvSpPr>
          <p:cNvPr id="4" name="Plassholder for dato 3"/>
          <p:cNvSpPr>
            <a:spLocks noGrp="1"/>
          </p:cNvSpPr>
          <p:nvPr>
            <p:ph type="dt" sz="half" idx="10"/>
          </p:nvPr>
        </p:nvSpPr>
        <p:spPr/>
        <p:txBody>
          <a:bodyPr/>
          <a:lstStyle/>
          <a:p>
            <a:r>
              <a:rPr lang="nb-NO" dirty="0" smtClean="0"/>
              <a:t>17.11.2014</a:t>
            </a:r>
            <a:endParaRPr lang="nb-NO" dirty="0"/>
          </a:p>
        </p:txBody>
      </p:sp>
      <p:sp>
        <p:nvSpPr>
          <p:cNvPr id="7" name="Plassholder for bunntekst 4"/>
          <p:cNvSpPr>
            <a:spLocks noGrp="1"/>
          </p:cNvSpPr>
          <p:nvPr>
            <p:ph type="ftr" sz="quarter" idx="11"/>
          </p:nvPr>
        </p:nvSpPr>
        <p:spPr>
          <a:xfrm>
            <a:off x="684332" y="4861424"/>
            <a:ext cx="6552750" cy="160826"/>
          </a:xfrm>
        </p:spPr>
        <p:txBody>
          <a:bodyPr/>
          <a:lstStyle/>
          <a:p>
            <a:r>
              <a:rPr lang="nb-NO"/>
              <a:t>Skatteetaten – Informasjonsforvaltning</a:t>
            </a:r>
          </a:p>
        </p:txBody>
      </p:sp>
    </p:spTree>
    <p:extLst>
      <p:ext uri="{BB962C8B-B14F-4D97-AF65-F5344CB8AC3E}">
        <p14:creationId xmlns:p14="http://schemas.microsoft.com/office/powerpoint/2010/main" val="251858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p:cNvSpPr>
            <a:spLocks noGrp="1"/>
          </p:cNvSpPr>
          <p:nvPr>
            <p:ph type="sldNum" sz="quarter" idx="4294967295"/>
          </p:nvPr>
        </p:nvSpPr>
        <p:spPr/>
        <p:txBody>
          <a:bodyPr/>
          <a:lstStyle/>
          <a:p>
            <a:fld id="{D8865200-363A-4A27-BFE2-9D2920C8E885}" type="slidenum">
              <a:rPr lang="nb-NO" smtClean="0"/>
              <a:t>5</a:t>
            </a:fld>
            <a:endParaRPr lang="nb-NO" dirty="0"/>
          </a:p>
        </p:txBody>
      </p:sp>
      <p:pic>
        <p:nvPicPr>
          <p:cNvPr id="3" name="Bilde 2"/>
          <p:cNvPicPr>
            <a:picLocks noChangeAspect="1"/>
          </p:cNvPicPr>
          <p:nvPr/>
        </p:nvPicPr>
        <p:blipFill>
          <a:blip r:embed="rId2"/>
          <a:stretch>
            <a:fillRect/>
          </a:stretch>
        </p:blipFill>
        <p:spPr>
          <a:xfrm>
            <a:off x="-304429" y="-189151"/>
            <a:ext cx="9754445" cy="5486876"/>
          </a:xfrm>
          <a:prstGeom prst="rect">
            <a:avLst/>
          </a:prstGeom>
        </p:spPr>
      </p:pic>
    </p:spTree>
    <p:extLst>
      <p:ext uri="{BB962C8B-B14F-4D97-AF65-F5344CB8AC3E}">
        <p14:creationId xmlns:p14="http://schemas.microsoft.com/office/powerpoint/2010/main" val="202712141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0ACE4012-6C18-449D-8BBC-54252FF123E6}" type="datetime1">
              <a:rPr lang="nb-NO">
                <a:solidFill>
                  <a:srgbClr val="7F7F7F"/>
                </a:solidFill>
              </a:rPr>
              <a:pPr/>
              <a:t>13.10.2021</a:t>
            </a:fld>
            <a:endParaRPr lang="nb-NO">
              <a:solidFill>
                <a:srgbClr val="7F7F7F"/>
              </a:solidFill>
            </a:endParaRPr>
          </a:p>
        </p:txBody>
      </p:sp>
      <p:sp>
        <p:nvSpPr>
          <p:cNvPr id="6" name="Plassholder for lysbildenummer 5"/>
          <p:cNvSpPr>
            <a:spLocks noGrp="1"/>
          </p:cNvSpPr>
          <p:nvPr>
            <p:ph type="sldNum" sz="quarter" idx="12"/>
          </p:nvPr>
        </p:nvSpPr>
        <p:spPr/>
        <p:txBody>
          <a:bodyPr/>
          <a:lstStyle/>
          <a:p>
            <a:fld id="{2383CA57-A44B-46C8-9FD1-0300097AA787}" type="slidenum">
              <a:rPr lang="nb-NO">
                <a:solidFill>
                  <a:srgbClr val="7F7F7F"/>
                </a:solidFill>
              </a:rPr>
              <a:pPr/>
              <a:t>50</a:t>
            </a:fld>
            <a:endParaRPr lang="nb-NO" dirty="0">
              <a:solidFill>
                <a:srgbClr val="7F7F7F"/>
              </a:solidFill>
            </a:endParaRPr>
          </a:p>
        </p:txBody>
      </p:sp>
      <p:sp>
        <p:nvSpPr>
          <p:cNvPr id="158722" name="Rectangle 2"/>
          <p:cNvSpPr>
            <a:spLocks noGrp="1" noChangeArrowheads="1"/>
          </p:cNvSpPr>
          <p:nvPr>
            <p:ph type="title"/>
          </p:nvPr>
        </p:nvSpPr>
        <p:spPr>
          <a:xfrm>
            <a:off x="781195" y="188417"/>
            <a:ext cx="8606328" cy="987422"/>
          </a:xfrm>
        </p:spPr>
        <p:txBody>
          <a:bodyPr>
            <a:normAutofit/>
          </a:bodyPr>
          <a:lstStyle/>
          <a:p>
            <a:pPr algn="ctr"/>
            <a:r>
              <a:rPr lang="nb-NO" altLang="nb-NO" sz="3200" dirty="0" smtClean="0"/>
              <a:t>Orden og</a:t>
            </a:r>
            <a:r>
              <a:rPr lang="nb-NO" altLang="nb-NO" sz="3000" dirty="0" smtClean="0"/>
              <a:t> samlet kunnskap er forutsetninger for god informasjonsforvaltning</a:t>
            </a:r>
            <a:endParaRPr lang="nb-NO" sz="3000"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1195" y="1255623"/>
            <a:ext cx="7408666" cy="36474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841019"/>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13750" y="378737"/>
            <a:ext cx="8033268" cy="512448"/>
          </a:xfrm>
        </p:spPr>
        <p:txBody>
          <a:bodyPr>
            <a:normAutofit/>
          </a:bodyPr>
          <a:lstStyle/>
          <a:p>
            <a:r>
              <a:rPr lang="nb-NO" sz="2400" dirty="0"/>
              <a:t>Digitaliseringsarbeidet endrer retning</a:t>
            </a:r>
          </a:p>
        </p:txBody>
      </p:sp>
      <p:sp>
        <p:nvSpPr>
          <p:cNvPr id="6" name="TekstSylinder 5"/>
          <p:cNvSpPr txBox="1"/>
          <p:nvPr/>
        </p:nvSpPr>
        <p:spPr>
          <a:xfrm>
            <a:off x="4578096" y="1307315"/>
            <a:ext cx="4273296" cy="3046988"/>
          </a:xfrm>
          <a:prstGeom prst="rect">
            <a:avLst/>
          </a:prstGeom>
          <a:noFill/>
        </p:spPr>
        <p:txBody>
          <a:bodyPr wrap="square" rtlCol="0">
            <a:spAutoFit/>
          </a:bodyPr>
          <a:lstStyle/>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Arial" panose="020B0604020202020204"/>
                <a:ea typeface="+mn-ea"/>
                <a:cs typeface="+mn-cs"/>
              </a:rPr>
              <a:t>Aktører henger i stadig større grad sammen i lange verdikjeder med en gjennomgående digitalisering</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Arial" panose="020B0604020202020204"/>
                <a:ea typeface="+mn-ea"/>
                <a:cs typeface="+mn-cs"/>
              </a:rPr>
              <a:t>Etatens oppgaver kan løses i større grad ute i samfunnet, der den økonomiske aktiviteten finner sted</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Arial" panose="020B0604020202020204"/>
                <a:ea typeface="+mn-ea"/>
                <a:cs typeface="+mn-cs"/>
              </a:rPr>
              <a:t>På mange områder er regelverk, standarder og samarbeid viktigere enn intern utvikling for å legge til rette innovative løsninger</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Arial" panose="020B0604020202020204"/>
                <a:ea typeface="+mn-ea"/>
                <a:cs typeface="+mn-cs"/>
              </a:rPr>
              <a:t>Piloter og innovasjonssamarbeid vil bli viktigere</a:t>
            </a:r>
          </a:p>
        </p:txBody>
      </p:sp>
      <p:pic>
        <p:nvPicPr>
          <p:cNvPr id="7" name="Bilde 6"/>
          <p:cNvPicPr>
            <a:picLocks noChangeAspect="1"/>
          </p:cNvPicPr>
          <p:nvPr/>
        </p:nvPicPr>
        <p:blipFill rotWithShape="1">
          <a:blip r:embed="rId3" cstate="hqprint">
            <a:extLst>
              <a:ext uri="{28A0092B-C50C-407E-A947-70E740481C1C}">
                <a14:useLocalDpi xmlns:a14="http://schemas.microsoft.com/office/drawing/2010/main"/>
              </a:ext>
            </a:extLst>
          </a:blip>
          <a:srcRect b="-1179"/>
          <a:stretch/>
        </p:blipFill>
        <p:spPr>
          <a:xfrm>
            <a:off x="445008" y="1203864"/>
            <a:ext cx="3753120" cy="3664014"/>
          </a:xfrm>
          <a:prstGeom prst="rect">
            <a:avLst/>
          </a:prstGeom>
        </p:spPr>
      </p:pic>
    </p:spTree>
    <p:extLst>
      <p:ext uri="{BB962C8B-B14F-4D97-AF65-F5344CB8AC3E}">
        <p14:creationId xmlns:p14="http://schemas.microsoft.com/office/powerpoint/2010/main" val="4980085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2"/>
          <a:stretch>
            <a:fillRect/>
          </a:stretch>
        </p:blipFill>
        <p:spPr>
          <a:xfrm>
            <a:off x="1532021" y="1023554"/>
            <a:ext cx="6393748" cy="3996789"/>
          </a:xfrm>
          <a:prstGeom prst="rect">
            <a:avLst/>
          </a:prstGeom>
        </p:spPr>
      </p:pic>
      <p:sp>
        <p:nvSpPr>
          <p:cNvPr id="5" name="TekstSylinder 4"/>
          <p:cNvSpPr txBox="1"/>
          <p:nvPr/>
        </p:nvSpPr>
        <p:spPr>
          <a:xfrm>
            <a:off x="1532021" y="264695"/>
            <a:ext cx="6252033" cy="461665"/>
          </a:xfrm>
          <a:prstGeom prst="rect">
            <a:avLst/>
          </a:prstGeom>
          <a:noFill/>
        </p:spPr>
        <p:txBody>
          <a:bodyPr wrap="none" rtlCol="0">
            <a:spAutoFit/>
          </a:bodyPr>
          <a:lstStyle/>
          <a:p>
            <a:r>
              <a:rPr lang="nb-NO" sz="2400" b="1" dirty="0" smtClean="0"/>
              <a:t>Sak til Skate (etatsledergruppering) i dag </a:t>
            </a:r>
            <a:endParaRPr lang="nb-NO" sz="2400" b="1" dirty="0"/>
          </a:p>
        </p:txBody>
      </p:sp>
    </p:spTree>
    <p:extLst>
      <p:ext uri="{BB962C8B-B14F-4D97-AF65-F5344CB8AC3E}">
        <p14:creationId xmlns:p14="http://schemas.microsoft.com/office/powerpoint/2010/main" val="95398867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half" idx="2"/>
          </p:nvPr>
        </p:nvSpPr>
        <p:spPr>
          <a:xfrm>
            <a:off x="1048773" y="977087"/>
            <a:ext cx="8515018" cy="3816140"/>
          </a:xfrm>
        </p:spPr>
        <p:txBody>
          <a:bodyPr>
            <a:normAutofit fontScale="25000" lnSpcReduction="20000"/>
          </a:bodyPr>
          <a:lstStyle/>
          <a:p>
            <a:endParaRPr lang="nb-NO" dirty="0" smtClean="0"/>
          </a:p>
          <a:p>
            <a:r>
              <a:rPr lang="nb-NO" sz="3700" b="1" dirty="0" smtClean="0"/>
              <a:t>Informasjons og analyseplattform	</a:t>
            </a:r>
          </a:p>
          <a:p>
            <a:pPr marL="0" indent="0">
              <a:buNone/>
            </a:pPr>
            <a:endParaRPr lang="nb-NO" sz="3700" b="1" dirty="0"/>
          </a:p>
          <a:p>
            <a:r>
              <a:rPr lang="nb-NO" sz="3700" b="1" dirty="0" smtClean="0"/>
              <a:t>Fremtiden innkreving</a:t>
            </a:r>
          </a:p>
          <a:p>
            <a:pPr marL="0" indent="0">
              <a:buNone/>
            </a:pPr>
            <a:endParaRPr lang="nb-NO" sz="3700" b="1" dirty="0"/>
          </a:p>
          <a:p>
            <a:r>
              <a:rPr lang="nb-NO" sz="3700" b="1" dirty="0" err="1" smtClean="0"/>
              <a:t>Tax</a:t>
            </a:r>
            <a:r>
              <a:rPr lang="nb-NO" sz="3700" b="1" dirty="0" smtClean="0"/>
              <a:t> 2030 </a:t>
            </a:r>
          </a:p>
          <a:p>
            <a:pPr marL="0" indent="0">
              <a:buNone/>
            </a:pPr>
            <a:endParaRPr lang="nb-NO" sz="3700" b="1" dirty="0"/>
          </a:p>
          <a:p>
            <a:r>
              <a:rPr lang="nb-NO" sz="3700" b="1" dirty="0" smtClean="0"/>
              <a:t>Bedre styring og forvaltning av informasjon</a:t>
            </a:r>
          </a:p>
          <a:p>
            <a:pPr marL="0" indent="0">
              <a:buNone/>
            </a:pPr>
            <a:endParaRPr lang="nb-NO" sz="3700" b="1" dirty="0"/>
          </a:p>
          <a:p>
            <a:pPr lvl="1"/>
            <a:r>
              <a:rPr lang="nb-NO" sz="3700" b="1" dirty="0" smtClean="0"/>
              <a:t>Operasjonalisere styring og forvaltning av informasjon </a:t>
            </a:r>
          </a:p>
          <a:p>
            <a:endParaRPr lang="nb-NO" sz="3700" b="1" dirty="0"/>
          </a:p>
          <a:p>
            <a:pPr lvl="1"/>
            <a:r>
              <a:rPr lang="nb-NO" sz="3700" b="1" dirty="0" smtClean="0"/>
              <a:t>Sikre personvern og informasjonssikkerhet</a:t>
            </a:r>
          </a:p>
          <a:p>
            <a:pPr lvl="1"/>
            <a:endParaRPr lang="nb-NO" sz="3700" b="1" dirty="0"/>
          </a:p>
          <a:p>
            <a:pPr lvl="1"/>
            <a:r>
              <a:rPr lang="nb-NO" sz="3700" b="1" dirty="0" smtClean="0"/>
              <a:t>Komme i posisjon til tenke strategisk på data, hvem som eier og hvilke data som har mest verdi</a:t>
            </a:r>
          </a:p>
          <a:p>
            <a:pPr lvl="1"/>
            <a:endParaRPr lang="nb-NO" sz="3700" b="1" dirty="0"/>
          </a:p>
          <a:p>
            <a:r>
              <a:rPr lang="nb-NO" sz="3700" b="1" dirty="0" smtClean="0"/>
              <a:t>Smelte sammen forretning og IT i tverrfaglige produkttema</a:t>
            </a:r>
          </a:p>
          <a:p>
            <a:pPr marL="338172" lvl="1" indent="0">
              <a:buNone/>
            </a:pPr>
            <a:endParaRPr lang="nb-NO" sz="3700" b="1" dirty="0"/>
          </a:p>
          <a:p>
            <a:r>
              <a:rPr lang="nb-NO" sz="3700" b="1" dirty="0" smtClean="0"/>
              <a:t>Sky </a:t>
            </a:r>
          </a:p>
          <a:p>
            <a:endParaRPr lang="nb-NO" sz="3700" b="1" dirty="0" smtClean="0"/>
          </a:p>
          <a:p>
            <a:r>
              <a:rPr lang="nb-NO" sz="3700" b="1" dirty="0" smtClean="0"/>
              <a:t>Maskinlæring og ny teknologi</a:t>
            </a:r>
          </a:p>
          <a:p>
            <a:endParaRPr lang="nb-NO" sz="3700" b="1" dirty="0"/>
          </a:p>
          <a:p>
            <a:r>
              <a:rPr lang="nb-NO" sz="3700" b="1" dirty="0" smtClean="0"/>
              <a:t>Globalisering </a:t>
            </a:r>
          </a:p>
        </p:txBody>
      </p:sp>
      <p:sp>
        <p:nvSpPr>
          <p:cNvPr id="3" name="Plassholder for dato 2"/>
          <p:cNvSpPr>
            <a:spLocks noGrp="1"/>
          </p:cNvSpPr>
          <p:nvPr>
            <p:ph type="dt" sz="half" idx="10"/>
          </p:nvPr>
        </p:nvSpPr>
        <p:spPr/>
        <p:txBody>
          <a:bodyPr/>
          <a:lstStyle/>
          <a:p>
            <a:fld id="{1A1F10B7-A01E-430E-A625-DB4259FCF2CA}" type="datetime4">
              <a:rPr lang="nb-NO" smtClean="0">
                <a:solidFill>
                  <a:prstClr val="black"/>
                </a:solidFill>
              </a:rPr>
              <a:pPr/>
              <a:t>13. oktober 2021</a:t>
            </a:fld>
            <a:endParaRPr lang="nb-NO">
              <a:solidFill>
                <a:prstClr val="black"/>
              </a:solidFill>
            </a:endParaRPr>
          </a:p>
        </p:txBody>
      </p:sp>
      <p:sp>
        <p:nvSpPr>
          <p:cNvPr id="4" name="Tittel 1"/>
          <p:cNvSpPr txBox="1">
            <a:spLocks/>
          </p:cNvSpPr>
          <p:nvPr/>
        </p:nvSpPr>
        <p:spPr>
          <a:xfrm>
            <a:off x="588352" y="268201"/>
            <a:ext cx="8371046" cy="512448"/>
          </a:xfrm>
          <a:prstGeom prst="rect">
            <a:avLst/>
          </a:prstGeom>
        </p:spPr>
        <p:txBody>
          <a:bodyPr/>
          <a:lstStyle>
            <a:lvl1pPr algn="l" defTabSz="676341" rtl="0" eaLnBrk="1" latinLnBrk="0" hangingPunct="1">
              <a:lnSpc>
                <a:spcPct val="90000"/>
              </a:lnSpc>
              <a:spcBef>
                <a:spcPct val="0"/>
              </a:spcBef>
              <a:buNone/>
              <a:defRPr sz="3674" b="1" kern="1200">
                <a:solidFill>
                  <a:schemeClr val="tx1"/>
                </a:solidFill>
                <a:latin typeface="+mj-lt"/>
                <a:ea typeface="+mj-ea"/>
                <a:cs typeface="+mj-cs"/>
              </a:defRPr>
            </a:lvl1pPr>
          </a:lstStyle>
          <a:p>
            <a:r>
              <a:rPr lang="nb-NO" dirty="0" smtClean="0"/>
              <a:t>			Oppsummering </a:t>
            </a:r>
            <a:endParaRPr lang="nb-NO" dirty="0"/>
          </a:p>
        </p:txBody>
      </p:sp>
    </p:spTree>
    <p:extLst>
      <p:ext uri="{BB962C8B-B14F-4D97-AF65-F5344CB8AC3E}">
        <p14:creationId xmlns:p14="http://schemas.microsoft.com/office/powerpoint/2010/main" val="254823741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half" idx="2"/>
          </p:nvPr>
        </p:nvSpPr>
        <p:spPr/>
        <p:txBody>
          <a:bodyPr/>
          <a:lstStyle/>
          <a:p>
            <a:pPr marL="0" indent="0" algn="ctr">
              <a:buNone/>
            </a:pPr>
            <a:r>
              <a:rPr lang="nb-NO" sz="2800" dirty="0" smtClean="0"/>
              <a:t>Spørsmål? </a:t>
            </a:r>
          </a:p>
          <a:p>
            <a:pPr marL="676341" lvl="2" indent="0" algn="ctr">
              <a:buNone/>
            </a:pPr>
            <a:endParaRPr lang="nb-NO" sz="2400" dirty="0"/>
          </a:p>
          <a:p>
            <a:pPr marL="676341" lvl="2" indent="0" algn="ctr">
              <a:buNone/>
            </a:pPr>
            <a:r>
              <a:rPr lang="nb-NO" sz="2400" dirty="0" smtClean="0">
                <a:hlinkClick r:id="rId2"/>
              </a:rPr>
              <a:t>geir.myrind@skatteetaten.no</a:t>
            </a:r>
            <a:endParaRPr lang="nb-NO" sz="2400" dirty="0" smtClean="0"/>
          </a:p>
          <a:p>
            <a:pPr marL="676341" lvl="2" indent="0" algn="ctr">
              <a:buNone/>
            </a:pPr>
            <a:endParaRPr lang="nb-NO" sz="2400" dirty="0"/>
          </a:p>
          <a:p>
            <a:pPr marL="676341" lvl="2" indent="0" algn="ctr">
              <a:buNone/>
            </a:pPr>
            <a:r>
              <a:rPr lang="nb-NO" sz="2400" dirty="0"/>
              <a:t>@</a:t>
            </a:r>
            <a:r>
              <a:rPr lang="nb-NO" sz="2400" dirty="0" err="1"/>
              <a:t>geirmy</a:t>
            </a:r>
            <a:endParaRPr lang="nb-NO" sz="2400" dirty="0"/>
          </a:p>
          <a:p>
            <a:pPr marL="676341" lvl="2" indent="0" algn="ctr">
              <a:buNone/>
            </a:pPr>
            <a:endParaRPr lang="nb-NO" sz="2400" dirty="0" smtClean="0"/>
          </a:p>
          <a:p>
            <a:pPr marL="676341" lvl="2" indent="0" algn="ctr">
              <a:buNone/>
            </a:pPr>
            <a:endParaRPr lang="nb-NO" dirty="0"/>
          </a:p>
        </p:txBody>
      </p:sp>
      <p:sp>
        <p:nvSpPr>
          <p:cNvPr id="5" name="AutoShape 2" descr="data:image/png;base64,%20iVBORw0KGgoAAAANSUhEUgAAALcAAACvCAYAAAC/609pAAAAAXNSR0IArs4c6QAAAARnQU1BAACxjwv8YQUAAAAJcEhZcwAADsMAAA7DAcdvqGQAAJDxSURBVHhe7Z0HoF5Fmf7fr9fbS3ojlRJ6E1iKFAEFBRsIFuy41l37/nV1d9W1rF1XQUVRQBAEaaJ0lN5rCCQhlSQ39ya3fL3+n9+cO+HKgrsklBDuwMk593znzJkz87zvPO8778yx8TSettcUaiqNHo+nFyj5Kg6FQlar1dxxNBp1+/H0wqXw6H48vUAJYJfLZatWq+5vAE7ifKPRcMfj6YVJ4+B+gRNgjsfjFolERs+o0sNhd94DfTy9MGkc3C9C8mBGW/uNVK/XNx+Pp+c/jYP7RUiA2AMZDe61+DiwX9g0Du4XKQFoNDg8u1KpOGBjVI5TkxcujYP7RUiA2gN7eHjYBgYGnNdkHNgvbHrFgTufz48ePTMtAIB4N6ARPvH3/5bIC8D6PMnn6d4QwPzLX/7S3vzmN9vXv/51GxkZGf0lSNzLc7nvmco2np5bekWBG/DhuQA4xWLRnQNI0AQPYDSspwsenP8Xn7S/1mtj9v7Y//bXv/7Vfv7zn1tLS4tdffXVdtxxx9ktt9ziyoM253roiy/TeNq69IrT3LFYzAEnkUg4UHEM4NkKhYLT7IAMkCMMgH6sG++ZEmAkr2e6jvPkNTg4aGeeeabNnDnTvv/979v5559vU6ZMsXe/+9123333WVtbmxO4TZs2OWFi80IxnrYsvaLADWBKpdJmwLEB9oceesht6XTaMpmMAzTXcT2g5/jvJa9xx2rqsW4+zl9//fV28cUX2zHHHGNz5851zwLs06dPt+985zvuWclk0oHc3zOeti694jQ3GpsNw460evVq++xnP+t48I9+9CPr7++3VCrlgAlIARnX/73ENR6MnjN77wjn165d64DN8U9+8hP73ve+5/LnOQhXX1+f499eU48VwPG05ekVFVsCzUBD8sq5XM6B6dvf/rbjvSRAtttuu9nb3/52+4d/+AenSQGrB+n/lsjXA3ts+u///m/70pe+ZGeccYajPhiT9BBcS5kQqn333dddyzmeR17/l2eOp7+TAPcrJQmoo0fNpkDVvOyyy5rHH398U4aeOyeQN0UbmjvvvHPzC1/4QlNa3Z0XD3f7/y0JmC5fn3jenXfe2RRwm1/+8pdHzzab9957b1NC1HzDG97QXLJkibtv2bJlzccee6z55JNPNiUAzWq1Onr1eNrStN31e3qnzd372MR5kvdCQEtuvfVWRzkOPPBAd+5Vr3qV4794M37wgx/Ypz71KVu6dKnjxyS0OMlr3GdK/Maz2NDSAqw98cQT1t7e7oxF0u67724nn3yybdiwwTo6OuyRRx5xXpQvfvGL9pnPfMYuuOCCzd4b8vN5+r998r+R/DPHnnulp4i6yy+NHm8XiQYGhHTpNLI/HtvwROhBT/BO/O53v7PJkyfbjBkzHP/lnDSrff7zn7fLL7/cARDQ8xuAhnKQJ/l4+sF58odOcN7TCYzRbDbrzuP6kxbfTHV++tOfOsE64ogj7KMf/agTNOgKv//2t791z4MieWEkX/9uvvw8l7859u/JnjTO17dDcNPAY0HnGx0AcJ5jgIIxN23aNKfB4cQYffiaAR2a+n3ve5+tX7/enTv00EMd6Pz93HP77bfb0NCQdXV1ufMe3CSu4W9Sa2urEw5cgIsWLbKLLrrILrnkEqfVEaAbb7zRrrjiCttll11cj3HSSSc5LX/22WebaIsrC/mTt383DE4Eg3P+/bywcc5f+0pP25VB6TUbQPYa1Dc8Dc7v/I0BSdcPYA855BBbvny5/eUvf3EG5dSpU+0Tn/iEAz8a9S1veYudeuqp7n6oAufxUf/sZz+znXbayfbZZx/n3uvp6XFlQKDGPs8nr1EB8+OPP+4Av9dee9mrX/1qR4sWLlxov/rVr5zvG+EBvHhW7r77brvqqqts0qRJJvvA7Xk//64kr7l94h15/is9bXfgBlx06f6YDY3GORr9j3/8o33ta19zWpvfVq5c6TwV73rXuxxw0Z5QFTQsVOW73/2uoxaAjTxl+Nk3vvENp2l7e3vt2muvdb8fddRRTlDQtFznAe4HgXg+dIIyAEafXv/61ztfNwM769atc1r93HPPtbe97W1Og59zzjnO901ZSf/1X//lngvl8QLsaYoH9FjBfiWn7YqW+Mb0wOJv9oCL9OSTT9q3vvUtRzP+3//7f/aa17zGacI//OEPzs8MJQCcaPIdd9zRAR5Nyv2AFO2IdkWzcj8AhxeT7zXXXGN33XWXdXZ2ujwBI/cAasrjwUde0AqO/eDQ73//e3c9NAjOjysSIcNNiUvy3/7t35zgwNsBP2XdeeedHcA9iNnIg2chXP7cKzqpIrarJEA1xYXdMe40Nbg7xp2HC050wO35zaezzjqrefTRRzdvu+02575jE/DcvbjlSBzjKjzxxBObohbu3ODgoMuXTcBu/uu//mvzhBNOaH7zm99sbty40V3Dc9goF4m8fZk4n8vlmqJI7j4JW/O0005rPvTQQ00BuynK0ly6dKm7lvTFL36xKSFxrkvZCE31Qs1Vq1Ztzpsys42nIG13xAwN6V13eD3g1gKAOwfNwJDDgOM6rzkxCtGw3rPBeTQsmg86QuI+qAo8+eCDD3baE82JtiShwT/2sY/ZBz7wAcep2fNsnkNe5IvnA83K3wwikT/lksC4UUs4Nj3LhAkTnAsSPk+ZvceE3oFYFMqAq/Id73iHSaDc+3ieTpm4fiwHf6Wm7dIV6OnAmjVrnN8aKgGIACBcm1eGSgDMBx980H784x87lxz8F1AARIAHCAEKf2PU3XTTTfaFL3zBAUha1/3mgQtYOV6wYIHtv//+Lu8rr7zS/vznP9vs2bOd1wQD1peR8vnE3/i74djwfvKhXPi/d911V0dR4OS4CxEAQgY+/OEPO0MW2kTg1QEHHOCEk/IjQF6I2FNWhIznUC7OvxLSdjf87l+HPaAD4AAD7UbAEhoSo/ArX/mKG1Sh8fGIvOc977Hu7m4Hag8AtDVCgZsQDQmA4OFEDiJA/MZziPiDawNeP1ADeBnAwVdOqKtohx177LHOeOSZ3OdBxjPh2gCb3gaDFg3NwA7A5XcCrz73uc+5QZ7DDz/clRWujlAB3CVLlth1111nokPufbAHALp/H8oL+DkeK1jbdVIlbzcJDqvu2R3DZQU0x3EFpuYDDzzQlKHWnDhxYlMGWnPx4sVueP3RRx9113Md96vx3fUcw6U5/41vfKMpULv84LeiJI5T8zu8m2dxDNfnb3g6+ZAH5+DooilNga553nnnNQcGBtwz/XXqAdwz2e65557mnDlzmmeccYa7Bn5NOMCRRx7p7pPmdn8//PDD7nrKc/755zcFZvd+n/jEJ5oymJvqadz9lJnrSL5MlPWVkLYrWoKmhneinaAOaEKB1wQEp1nRzgymoBnZoAJ4TtBu3It2I3k+zv3QA3zap59+us2fP98N6qChuQbNLuA4jYgG5W/oB3kxskl+UA2eCU8WsJzrEG2M1serghaFL5Mn2pv7eTb8nh5BYHcU6t///d+dC/Cd73ynvfe973UUiiQj2IUJEIj1H//xH84nz/VoeugR/nfyo7zeTvB2xPaetkvODUgALCOCvB7ReLj7ACLG4D/+4z86agGPBnQAAOBxDxt0AdBx7stf/rLr4gEVHBugAF7AghCx53mABpADaDZ4shcAygSY99tvP+fCUy/i3HpwZ4xZBo64hnzJE/qDMCIE3M9gEkKIoJIPrkL2vA9UhNHSPffc0wGasiNod9xxh6MvvCf0BcMUAQLY3Md7bu9puxvEAYAAE8Dhiwag+K8Z/MAgA6innXaaC16Cg9PQNDp7wEWCq5IAIF4JJhUAQu9FIU+u5TncV6vV3XEkgvbHI1J3eZK80PB7KBSWEAQzgeDh9B6FQlHAPcT5s315vLBwj0+cA5g8l/fkb8pDLDrPwq7AB37zzTe7QaCDDjrI9Thwd4SJoXx6Ebw4CM4rIW13mtuDCcMMjYXGRTtDB3DVYUwSS4JWZRDHa7CxewC0YsUKF2eCmw6tmMuNCFwBdUBDA2CJkwNjNBoRwPGelN0xAgCA6/WahcIha0hYACR/IzgAfOrUaQL0Qe7aP/3pKlGnh3SNOaqE1vd50At4QaJsnjoBaM6hmS+99FInrIcddpj7DWoDdWH09Zvf/KYTbqgRPQEDTQz3Izzbe3rZgRuQ0Mh03+zZAAFg4DjQoBEHTuI4aHAaH64MHYFHc/1HPvIR53Gg2/fAYfP546mAC+NyKxTwSEBFQlatlQVyaexmw+oNlQGANwX0ELTClVCbeoEIgtLQP3WLxihbQ9fVdH9FZa+4vNLppHP17bvP3vbY449J8/7BAbK3d4LK1uPK5XsRnwAl70cC9PBw/Pi8I65HegS0Mz5yhBmKg2eIPW7DH/7whzZv3jyT0eryGJvG1unYvxFgv+eZL5f0shvEoZKpdN/oaFIqHGOJhiURAAWPxriiC8ZNtsMOOzhth3HJ0DpBTyTf1ZMvWpE93TiGGjHX/O2uccCuKo+ErmMaGP5wAUEbe9o8+BtAE08tQOg4JNA3GqIqzYr7OxrTNZG6lasFyxeHLVfYaJmWlH3yU5+wz3/+M3qvin3hC5+3H/3oh84FiTDSy1DGscBCYwM2Bnz++Z//2V772tc6wLLH8GXonsEkBBp+Tn2RF8JBz4AGf//732+f/vSnXbw5Qk3y9euB7c+ROEfP+HJJL0vODdf0GpqwUwKLGNHDF01sNsA++uijXaQdIMAoZABmjz32cL5numqOaTS0OA2Gt4HGAzB0ZggCoOFZgKJep1FpZF9dQYMHiXOj5x2wSc9UrWOve+r3CMAVXweA1WrN7rjtDrtIlGqgf9je+ta32ete97rNwPaeDs/7fU/D3wgBG+9IBCGG6oUXXui4NkoArwq/nXXWWe7dOEd9YdgSCUmEoq9b8vN2Q1Cuqns2zxsrZNtyellybirXd82eO0IvCDxi+JoGRGMDYLQWhhrBULjIPvjBDzqPiXe/+cZCa9N4DPbAzz/0oQ85rQjYq1Vp6RDGHY3Kc9k41ua0mt84N3bPdVHhWWVs6v4m0YBsOt8cvU5GJuqF5/BOiUTcJk+ZaAeKRrS1ddj551/ownHxskBBcDF6YQTUAI/7eA9ACf0i0IrEdfyOjYBxjVeFEU6ehZGMAiBC8uyzz3b1Q3AW9el7CuoEgfe0jTQO7hcw0TBUtK9sn9DeGE2AmW6XuA581NAPumu0OKOEGF40OMCm8T1fJzG6iHcEDcZwfABsNCScGYCOAnMUlAGASfzN3v/NfvR3gF1Pjd4LwMkH7atN+1otZKlEi4QnYaWi6EC1aelUq96hQ+We59yHAM+HxBIH7n3h1AHal3fx74CdQZgsvRiGJLYD3hOEHYFFSKBwgBSgI/hQGQCLJwnBxo0ItaEuveAAeF/vT6/7bTW9LGkJWhotS8XTUIAZwKLVqHi0DwYlbjJ83cRa33///c77QZwHNMN3vSTyoXFxFxLPwWCIXz8EgIcF7HoNsLJ5aqFtlFu7tJmOsOe60b89mJ9ey46WMAQfslIZozYibRzXcUlUa5MrTyqVdhvAYoIFgocPG/cecSWAmvfmd69loV+LFy92tAQ7A/BjcPK+vBPzNHFrsodv/+lPf3IhCfjEqTO0N70CXiIGmd761re6633+/PZySS9LWgKAAaTXwOyZhIAmwmNAN8wEhFNOOcUdAwziOuiG/QgiQgHIAS8bgMDvTGOi5XkGfB3gNKEQLoASjSXQAuSnb5tBz/GYFMKTUhTey9oqT+1DbOLJMT3fCgJ1zirVosUTIWttS1siiaaEGlQdsGbNmmVvfOMbXdlxcRKQRRAYfBph9nSBc3hKoDCAkd+oK4BKPTHQg6EJNSPOhcEtejzqC+pC74DW55msa8i9uEJ9D4eQvFzSNqu5KdYzdX/e4OE3goTQKmgcRvE4RwOjjdA8uMLwjCAAJBoHrY/2AdAcA37yhHuS0Gb8TZeMZkdTtrZ2WLNBWdioLgALiD24R08H/6jsEgR3qH24KgZDWKxObBaSUWqjVBF4U+mkQIgXhtFNwnAJrFK2AncyEWhKbASAih8c4xmAM8gEpaBnwr2HIJLIh3dl83XIe/BOeGAIJeDdMSbxDNFjUR/UIbqOwCvAjKAz/A+do54Y8kcIPGS8QPnkernRv/01z9SGL1baJjU3FYOWoWI49hVFosEAHXsam2sIaQXgeAbwXXMM8DGUcHMR6oqGo/K5zyd/P9qMkT00PVqMhuc6D/BUKuF82k9pasAtSuP2lBOg163hykrOEkyBF3CG3fVcyznRn5A0srg3HD4k3s2+XosK5LqrIUCGUxaB31vcXdtsBj0LAopQUy8AHL81gosGv+yyy3ioTZw40dE1rgNkvh7Zey8L1IQejN8BMKO1GN4f//jHHXBxHVIv0Dg0N3SF0U5co8STw/l5PnnSM4wFNxSIeuMcz6XufBuyZ3sx01Ml28YSlUQFsVGJbCQqzh+jzfgd7QK/BNDEi8BJ4dcYUXgPyIuK5Vqfr298RixvuOEGZ1gxoELy10JLuCYapSsGwDwXoMLVATZ/Ax5+Q4sF5YtEcFOKDoQF4HBU4K2NjlL69UfU4NwCzJV3lOsFZGtK8KTdw+GY85p4kPqyAnLKBSjRznvvvbfzDqFp6a2gFewJuOJ6Nq4FZFzP3xwDTkZucZHiZkQ46K0I50UIuIcejDph0AfDlGf4FQIAMQqE3oDk2wFlwG9e+VCPtBX74L1f3LRNam5fOWM3GtZ3e3S/NACGJJVGY8Kh4dOAm8EbztOgeAjglvxNPtxPYk9+eAfQSmgseCoNRmPwDMpBCp4PmNVAzhBEG7MPGiziACpNizfEuf5i1qwrf90CoCPi1cSdhEJqcAFYjxUYtNUA3+iaJzIsI7AKCUytXlLZC8o9GNr3wKC8HLNx7D0leIDQvrg6eR+MYs7Ds7EruJ66GKvReSf2vCfAJESBHg7KhneFEU+oGj0Z6ydCXRjhZMSXY9ZWYWY+dU6P4duI/Hw7+ed4cLNne7HSNmtQevB5yacBSL7yqCy6TgZx6E5pBK4577zznBYH5ACVLthrFN+YgJY9LjY0PJySwCU0ECDwXThlABCco5FUEJ0FaNpvbiOVUyCt1xie1jUNUQ3n5hNSG9AK9RSNkn7jPhpaWlqamfzwkEQiAkBUWj1UsnpTGrA5or+LlsrSE0jzSb4waCm7Tx4g0Ac0LuVj4Ip6AIBwcvg4mhaBxS7hnbjWA829jxJ1gREKZ0dhcA3rqRAuCzcnYXSi3aFtxOWgteH6tA3+cgSD51L/HtS0Ec/kb8pHos5fzLTNcm4234hUkK8YzlGpaCZcdlARgImWojIZakerULms3Iq/1jckeZKPr3Ci5hAORu7GdqdsNDTABkCMGsJ/n/KYaC/ABXs4NPw4KdAmpMF1P8Px+pkNV18KihFJSqfDp7kubnFp+5i0MvlwDa/HUD6aPgSPD9NTof0DzUei3Byz98eUlXdlQ0tjJEKv0KgMseM9olfD1+8Na96LOvT1CqD9MefJA7qCncLSztAXfP88g1WzWO6ChfPR4oTcEtJAEBr5Ux7KRV3yHLQ+SoNelme8mGmb1dxUpAc0xxh5jB7iy0ZLUYl0i8Q4U9FcS5fKoAc0hMbBEPJ5ULEAlZBUKh2ezkAP07boVsmf3xmwCYy4QHMGYOIc+SAko6BmEEc0g3NNRh+lrSP6W5ATYPUTilZbKReyFYsitn5F1FYvjdiKx8K2cklIm9nKpfp9JGzVUlSEJm6JaMri4axyzCqfjPJIu+cQnxL6G2BQhsCgQ6CpHwAMoAAYG8YmLjzOUW+E+/KeDMl74HE/iTx4T8+bUQjYKwg8GpseEsOTY/zgb3rTm1wetAHRl9gteFZwMdJzUuc8i/zR7Cgc+LvX5C9W2iZdgRQJsAFWKpy/0aRM5KVbhEYwjI7W/ad/+ifnOeCYhMFD94z1z33cT0Ny7OKtK1AEs09+6pM2oWeCG8yolGW4NogrqVmlSsw2IaVED8oQK+EtyQQGoXMHSjM5Xq3uF+qtM6m0/q2HbOMGAXaF2dLH16pBV9ia1X023C9KtGmGVYoRK6m3oBcISVMn4qIlcVGZ0JClM2YdXVHrmZgWRei1HeZ02cwdzCbPMMu06d3reg89S+akNZolYO3eFQO0rh8IDYjFRNdUIGLL0fwIKgLKu69atVK92QVu9PKQQ/7BARXtTIguUthQHoERTI8F8IMZ+9Qd/B3NixYnkhLjkoArwI2tQ6+JyxWBIIISioNHBsHC304oAMLAPYD7xUzbJLi9VkCboJWQdo4ZYIBLMwWLYB9G6egWoSTMNEHTcC2DHQyfe82EJnHgjGgTQC79w8V2we8usW/+57ett3uq5fPEaohbV4atUOpTQyYsGU9KYEYE7ri1d7ZZqdDvfL31aotV8klpWFWezIDBAbO/Xt+wh+8v2JLH19nK5ZtsZLjojEnA1aipO673ShDi7tloXN4FbawfVEaMVjwwUJG6JZIRa2vPqAxx650Ss933abeDDovarAW6RKyi2hySXMnobYoMxdqtWg5GT6MS3IR+xwjNF3Pa6zkSwqDHSlq1VrT77nvQfv/7C2zlyifsjW8+zg4//DC9/0T9VnOUCi9NrQrQQ6qLsusBqH8S9stXv/pVp50Z5AHAzAgCPqwIAD8HxCgbBsTQ2LhXcSVimOKipT18u/o2xiPlR5g5/3TNjpKjHFui8bdZzc2LkqgQ+DGaG8n3xiGRbVjtgJzKplI9mKk0+CeJa9XOFk/FRRvq9sTqJ+wrX/m6HXzQqyUEJ+se6cFyTfmKXljBwpGyKpxZ8XXLZjp1T8YKuYIlYgJJVFShkRa4zdavMvvLNWW7+ILFtrEvZfVypw0P1gWUkPh1sH6IC3eV1g3B16EyFGSUUvjkGk2nmhIEgF4XmHh3Z2zGpVljA9bWM2C77JW2I4+bY/sdHLOWjqblC0xiiDo3Yq3WEG9mtFP3xXH38R5RgT0t4AeDOtRbPNGUjTIsDf4n+/Vvfm4LdpznFMEeu+8rcCMZGIMqjorkwxpoC+rV82dCAHCdklAa/P3rX//a0TzWUETDA1zmfGKsY/8wRY5zvBf3wPHZkyegRoB878qzaGvP3yl7UJcBHp5L2ibBzQvywlQAjT8W7BgvvDABUVQ2xg08D01NF4gG92msNqDLDgvcX//2f9niRU/a977zfYexULhkteZGVa5AxX9NUZBKIvB+6J5YtGbRcAZGbZWC2WOPNOzyS9bbVZfdY+tWScum56k8GWnQpMVCrdL4gXFIUg+vMogOKe+xgB6bKBsbr4em592hGkyACEVzIiCbrFovyO4sOlDvumePHfv62XbgYSHrnSqaJfQ2w0MShKZ6l5Ird2trl8BETxB2Grmg86VS4ArMZMTJU1Fbu3aVnXHmT51f/PBXH2nvfc+HHB+nHHUJNpMzqDuARpkQDgBKW6C9OQeP5jx1j5BAd1BAzPjB544HBfDTZnw2hd/Q5PjnAS7v7dvaa/Kx1IXn04ZB/Tx3cG+TBiUvw4vy0mwckxiJBMD4c/EI0DViscO5GY5mjRL+9pVBw9AY3F9R5T2y6FE784yz7YPv/7jNmT1J9EFaIakOPERcx4jAr3tk3Fk9bdEQLj2ZeXTX0mhL7q3bWT/O2/e++Ve769YNFq7NsHR0ByvnswJ1u2USaQds9DPaUsV2nByj1CHGWZj/M9F4Xr9Q5qc2DL2k+HiHpZOTLBmZYrmhtPh8zh68t8/uu6tfwEhY74SkdXanrCpbIhxtWktrRr2V6JT+xodeq4tyCYAtLRlXLyiGYlGaPJO1I494je2/34F2/fU3S0FcoAJHbJK4eDbDeixBD+IVDD0g9YiAMAgEzaDc/A39wLDHFkIrs1YL2p2eFb/7v/zLv7h7oTa4FTFWcT1yP2HKCAJtiWLyMT++Tng2ibI817TN0hISUk2l8IJY+3w7hrBM1s5m4IW/6bIImKKyCVnFk8J9NArJd4cR/f3Jf/6CtXV02b987qOWGxGopMnDBDFZ0epNNZ6uC0tL54ejlo21WDoRsXUrRT+uLtnZZ6yxgfVhaUdptXCrNetqAG3JRFR7QKrKVE6Amo2uXe3upptVRH0cQX+WNLYJvGCSW0NGaqXCbyFLi2VxOlesWqXZJwrSZ629g/aqQ3rtxJPn2t4HxS2aqlhOtkFd9Crb2mnlIhOJ8dtnXIwKEQS1URqA4clzW1pS4u5Ru+jCK2WHXGjtHS126ttPsj32WOgMeurPUwbuY8/fJF/PhACwsheGPEamj4fH2MQdizDwO75z3Le4KKEwvCsRib/4xS/c5GZ6BNrzyCOPdIqJ51AXCAwa/bkCfJvU3L4r8pXHS9GtEbpJpXH8yU9+0nE5YrbxxRIoBU/jWhqAeznmfrTONVdfp0a4zr70pX9VRYVtkyzB7u528euSoBO3tmyHVcpqvEbU2ttaLSot9uDtNfvFj3J2ztkrbGR9u7i2zot6JKLt0vIJBz7YRl17iAeeQcDMRjsQa6Icg5d6Fs2NZwLwUmY2n5yQ1NWDuXdwjzFRa5w1loq1WirTZcMDIXv80QFb9OCQVYtpmzIpYV09raIiAdcm34gb4axbqViQNpehq4wZ8kc7sq9Wm9KWRdtt9x1d3MiaNSvs0ssuNgZqqE/vdgVg7Nl8Walj9nhIcMFCR6A5LCmHNsaopO4Z+aRnBbA8F63OKDI9LV4UpsRRLmYD4WUhKtMn8vcK7rmmbZaWkMZyZjwluLL88gXM7sZKp8Jw/zESSQX5btQ3AMeMRH7rv75lb3rzG2333RdYoZhXw8kYC8fFlcEL/m3CRmOWjCasJM197eWb7CffWWY3XsWoZZfFmz2iHWg5gppwzVE2HYUYXmf4XPALS6DC4vaiB+EoqpzGR40/u8aBtjivisrOu9KQJHg3Bl5MRiKAJkQ2lipJm4qHCpCDBXHw2ETLxKfZ6hVNu+POlZYfqtuEXlGQVvz54sfKLy6NxzMi0ZCLPkzEMeL4BDhcWrRPxUylpYklfCkZ3Ye9+mA3qglQ8WszSEavyDnK5ntC9mzUN1oVqgElZGY9GhwPFtqZMQe0NnkQlozPHUrCOAR0BQOUZeIYKCLhboSi+LanXngux881bbODOCSnZUa7QEbYcMXB2xgGxjBhAIEujW4MafcekrFAQbswM4XGfd973y1NKg0kwBONhw+bUFMMyXKJlaPiNrQhYuecsdx+c+YSW3SfDNn6LJvcihtLAqf6rYpilGUp4hOPCtTxBODV38q30WSYGbceYa4qQxhDWPcJpJTnmTYvhBwjiE6w9RyaEr1vCEukqufnpT0LTpvHomlLR5JuwKiYH53J08CQW2GPLarZhK4OmzM/aZnWhBVL0rrS2vEYfuuq8ijqLp4nkZagUkbCbCkvVT04uFGad0dHKQCkjwZkHIGBGYBHGalbKATKxfeOgJxrADbvhLZnihzT9dDIAJljFtZnKiAam5lCzPxBaeEypB0BNoln8CzqZkvSNsm58X1ihfNSaN2zzz7bVRZGJFQEDkcXBh2hMhiIodKpTG+MUOlUNvzu61//hn3s4x+23fec54bHC3lcdBFx6rSb0Y5XoTWdscF1ITv7x3121k8esvLQVOvM7iADE2qgniBQqNSYNmloogG1l47VBsCpRjWCgPy3e2hHQD2eW6InKOk2CQyPdMP/4vf4y7Und0bvi7pEGJMA1Gwgt96i8ZrNX9BiJ30wYce9La1eJWR9AyUZnvjxR2w4N+jqjx4rKJvK5cJyZXwbYQYSz4oEJtXiaAmuVmgg9Yj2Zpgd7gwf99BxAqlE/aOMPCDpUZkex5A9bYFiwrvFABJjFOSFpsY/DpVhgA5gIywoKJLPe0vSNgluLHoqg8EAujS0Bt0elYRFzTocgJ4uEzrCtVSq1/S8EpWLgclM956eXtGY09Rw6t6kqVhqIaw9fLdcDFkykrXh9VH75Y/77YJfr7LyYI9F6xNUOzFTT+60dZNW98nHdANqt/kqpCG0eWA7cHMeAD3Xatb1IZaFk8HrJxczZQ2OQlbKMiJAO17veircfmEH2uHqkzZxwXJ75+kz7M0nTbWIbAzZoZZIFSWQJdEJAsFwuVFW5efeRYKKcU3ezYSzPQAWACd/vCEYjrj1CFIj5AFl47U217L5XtMbg7hrEQzug5szsQINjdFJ5CEhECiv3/zmN5uX2yBtt+D2kwUI+qECADhagWg3uBldH+eIdiP5rpE9jeHBzeQFujviRxbustCqpaZ6hbK1dKh7Lg+Je5esp2uO9S8z+9l3n7RzfrXSGiPTbFbvZBvYFLKRSsO62gSMQlnG4tOGjh3Wn1Z17k8P6NHkr3MTGp5L0juoV4BCOM0PCJsICb8FI61o4mxGPZX+q1XC4tMJB/CRUt5ydp+lu1faP378KHvHB7qsKNCXRUs6usJWKAWhCoHmpksSuN2ECjxH+qsmgzPZ4igd9U4vSo9IuwBUXH0Yg8SZsEwbGp26p85pB1//nAOcAB2NzHniUFBItB+hurhx4dwM3fsEsLmWe8lnS9M2ybkBNp4ROBlAZnoT/I55hAQEwdPgcGgQtDyVR6IyfKWg2TFo6EIZZCiKX9er+M7DVmvk1IA1yyS6LLchYRectdF+96s1Vtg43dLhCeqWdY3aGr+1iqJGZkAEIIxJYA6wjd0C5P3P5KjM6PH/OalhpT3ZHABd9mhXqApGHcCHAjABWeCRcRisU1izOPMvwzKMyxF7YtkGcfQO23Mvhv/N+jeOWFt71r2foEimQf4+6U+G4KFBAIv6BGyAE7CjfeHjgB2DEz6OkiHMeCyo2bjGa2Da1CdAjc1E/A92FN/f9D3uWGD79vT5Pte0TYKbSmR6GH5seDWagWB8tAgWOvQEqxxL3FcawT2ep1NBDM/jc8Wr4iupIoC3tMVteFAGVrjT4pa2S8/bZGd+734rDEy2jgwxySErqOGzTF3UPcPFQcvgZNYxvbjMQD1DezZdsvl47MZ1f/N30DjPeZPAuP98HhH1IMzJVC9ACC42Q6lAWGzIEkmArl6snrNqXQZis8Wy6Sm2bv06e+zx5TZx8lTbZdeoDGBWng1mJDlQo715AG/jqFNY79vqBNorDmgfdcg9lIuExwPvCPWOsoG2QCtQQlzPddQ5PJv7EA4ATxvBr2kj2pYxCwSD5N977HO8cPD855q2Wc2NxY3vmgoh7poAKSob3ykWN8O9GDUAngqlO/QVgBcFjYLBQiA93Wk0qkqKbhAI1H1bp+y0qN3zFwnBf6+1ZYtV6fHJ1qwRqxGxlJRhXJ1BXlyy3JRxK02IsYXbL6AXaGKeBSCCndvC/C7JYEIwXTwz3R2fHb32OaWgoYM7BWxA7WiK/gaQjYCH12T8MbJKefEIYUvwdyiUsREZzslEynL5fnt86YM2Z/48mzYjbLkC13O/cnf2AUBnzxb0VLSBHzcIRjWLri1QPJSIGUIY8fiwMeqJHsR45B6Wz+A+ruca7iE/QE87wcOJWyEkmSF/ruM8yYOa5LW4/+25pm2Gc1MMXoyKIH4YnzYGCzQELc63H/GT7rffPnbmz850C9ZEwsEQPS6yjLhnTV1ySfz4O9/5rjSFict93uVHPHalmrNobNjyQ02b0LGDrXq4aZ/96JN2z20D1p7ZQRhUF1pzCA2MtHpNBpg0Xazp/OKEhDZUPmFHewrs/tEGkOCZvIPuBuAyMsmDfXCDDoGlhA9t7I7FoQVDpyz5GVghPN4L4yYdK4+waBT1Qm56kruVAjR0AprlloDQcbHcsFq9rHcsu+UhGs2MVUVpUuqBcqUVlq/dbceeONNO/6c9bd7OEtwCD3Vs3eWPGLk4mAjhv+Qjo7IelY2CEVq2TDZmuPi5hokZ1C+gT2fQ1FH1ksP2wAMP249//AOnzQlmo/3I23uwaIuxnJz7vY3kExrea256ad9jbEl6yTS3fyHAyYsgvbwY8/cYoiXAnaAbpJzYbazz6dOn2fU38L3HO6yrs1PafYq0NtFvcO6qwB6y2++4xS6/4ko79ZR3iKPPtHwOn5c0DRN1y3FLRSZaTZrrv7+9yW6+foW1puZZbkgamxnnKgcoI946HAsAxZA1jdlQQzNtzCGbgRm8C/i0m1WLpxhN1V/6M6Hy4JXJF3FnMbfSrFQbEpaLFo5K0NxgD8+BKglQuo+RR9ovCniaJSvXBh1IG6FhATQnakBYK94gNJ+4qdCcLw9LK+u8hKWhMjFQE5U2DkeVr8DYCLHksozhnIBSbXexKU8sfVLPyNk++/WYiqnnVqxa63daPy0Ablg7bC2tSTdLqCZjOqp3XvpoSXWo8216l3jBBWFFjKUxgulyxJdXqgX1LAlp4elufRiWe6YdWTYCX7kf5aTN2Qc9qepcm6c+TsC0AWb2JK7dEjri00sCbgDtQc0LINFQC4Zl8YMCbibsYhTiE0VzY2Uzq/241x1r1157tf5ebsccfWzQ2G7F1aYseCLdzrD99tnfjjzyGAe4dDpug5sGtU9ZPMSXgEN2zaU5u/ziR2zDkzLEKh2WimWdQnSJA7cBYAAOCHWEQwG0u0ZQxqMnGAwZVpdNmGtaQjY0Io1WaVp7u36LVi0v2pRta3V+9VKpZoVSUYZewfHihgTDTS3Ts5pOw6supBkZsWQMPxlPW0JlazYQrrhA1NS9rhACY0bApmD60zEKlTcooP7HJRdMurBaSgImGiLJKeTrohd5a+/M2JydCCetWqvAjKAWC0Vr72i1cl7CIKFLqUd46K6KnX/OTVI6Fdt54QwZqlXH7/V0CbUy53kYuHhbZJy6dpW0wsVZto3FkBiO965c+DaApq396CYJpTYW1M9XeknA7aXUvxRGB38zbYyRK1YgxaGP1saSZiUoqMoRRxwuvj3JDj74IGmIY9QAWOPB0gtU+uVXXOFiTU7/4IdkwXcLCMSN6DlSv01pvbTU6ND6pn3vm7fZw/cNSJtP0X1JyybTamiHJ4cNB5SASyihyoN2dL85ULOpfQXsejNuWYKSpEEBdSIpUCeGbKS02oq11eoFalau4y+P24SepE2eGrPuCWFLZ6tuOB1wlGo5y6nnalZjlhQdYLpZs5bW3wJ1JWGVsjSYAJqUvYCrr15VT6H3jcCVXXnFMZwXRWXGJ+4mRgTD1rUqNAC/c8iKpaZt6Mvp3o22z4G91qny4DtHubBwkNv0vknV0xOPmJ37y5V25eU3Ws+ETtHB+eoZ9HyVD0FVg43WA88F3CqCypYUr2b8AWOfkWPsIuwlQiZIaHJATtujybnHRwI+3+klATcvhZRjpJCoAKQY45DYbCSbCiFIiphh1t3mN0Iq0TKtLa3if3ErEbqZZgpY05avWGW/+MVZ9uY3v8X223cf2zTYL+2WtI2bNsp4yQokSYup+77iorxd/Lt7hd+J0tgzLSJuiuehJHBDIejyA00UaG6noVwSaJ2hGDQk2jFY2JLZ9CEBlCF4CWms38qhJRZNrbJZ85t24GE99vo3TLDDj4naa06I2FGvj9uhx6TswCNa7MDD22yP/WK24y4J62yXJq0O2kaVO1+kmwfo4rmuV5YtIjCEIlVLpiSu0qxSuqJS/DY2qezOSITPS3FIIJh57yY4izZEwwzImA0Or7e2rqLtsQ8fgwrWNYnFklaqjEgIs7ZuWdjO/umwXXHJAzYySGDUBFGZ6ZZpEe1BYAhI4VnOeIb2AXLKpT8l8LQvCgsDkihOXH9ob2bkE7NC+2J0ws3h3IDd9+TPZ3pJwI2m4GWQVkBNqCPTx3AvUSkERPHS8DcGYZjlwaIwuIwqVWagUImMnqFxpZX1309/cpa0QdNOP/0DlssPOyDGxUn55kwikbaMjtc/YfaDbz1kyx8rWlt2rlWLGdEJWVxqcBpd7aJ/aLRRYLstAHfIDXIEjRhcSCOyBXMoQ+G8leorLdG2wXbfN2NvOnWmnfre+XbMid2236ubNnfPqk1bULTeWTmboG3KvILAX7ad9w7Z7vu12MI9EzZnx4r1TKyIzhQFwCdFcQRyS6mHkhCFK+Liww44UVEggK1HUzId0L3rGlc2EFYXYAEdQV0qt64MNUXLdBOhvyMjG21kOGd77j3NeqbgRxZg1TtkW1PWvy5iv/3ZkF12wTobGkhZS6ZX+Zntuc9UmzpNbacqIFTY+dxdnbCnJEih+L9+ArxoZj9yCecmahCgQzFRVgzIAXD83CTv9Xo+00tGS3h5Ei9P7AJDsIx20ZWxLAFfR8A7gosJYAN0hsuZ5BuJRNXFFiUYAlcjbI8uesLO/+3v7aMf/phNmtJl+cKwtbWlpY3FhaN0vRlLCJBXXlizP/x2qXh2p6XiE60wEpY2wydLOSiY/qdrFrgdTtRgbtOxGaN3iBHqHY2tPecjZfUlG6zcXGkz5oftlPfOtHd/aAc78NXtNmGa+HpkGDoqA68sLVq1WrMsI45lJIpOUKEXVEVLe8123K3dDji4w+bt3GrRdFng7rfhwZKLQIzF+QwhhiXAVZZ0MyqAk8XgSP/hZWDOKSuyloG0KE6L3pHF83lBFVsUhbrH6GvvDNkee3ZYPKueS0Z2KRezqy5ea+f+fJVtWtcjujbV9WqMaO64S4fttKt4P80Wxc2pzT08ELGnwB3QRO/rxlGA0cgzoSQMAOGqpW0ZnEPRkTAqPQd/vtJLyrkBNrNqmLFBxBgzq+miCJnEBchADaBmNMtNzq0HXRe+aKZhRQVywja/8u/fsN123cve+OajpJEq4rOywqs5gaAijpqxeCRlA2tD9uNvLrF1y1ssEelVg7cLcfBHNYoDNSWjsajssQ3G7/pbxh+padIu6vqhL6GIeHK4z6qRVfbaN060j312pr36GOXfqt5EGrMhI7Fag/djQOs2ce+mOD5T2djCIWa8SHi4rloX2CVYui+YGNxtC3fpsbIoyuKliyyfL1hrpsd5TZhVxCwdZ3gGkvdUkSlrGJohoDOCKc3PKlfMynEelSjGJobriHqCis1f0GW9vWHRn5Bd+JsVdvYZj1j/6h5rz8ywQhHlUbNUNmRTp0t77ystG5WAw+89uKFBrndDCRBpGHMeFUDrB384BtwAGHrCGoSMHNNTQ4nowbkWG+H5TK5JX+wEJSHx4kQAEj0GHyN4BvDSPTH4wkIwLA/Add74wKfMEHrUHYfdBNRBGTDvPu1k27hBgNM5jKlCkQ+KqnJl2Sek9a67eo0tXZyXEp2oNum0agVXlgAwWgPo5M18+n8kcuQ/Fo+sqWtXG8eatrG01EKtG+xz/zbPPva5qbbTPnGLZCtWjxSs2mQJCTQuzwhGFoOs8PelVQkCSj1r4aZ6mCICGbHh3GpVStni6YplOvK21yER+/DnZ9qJJ02xdGufFcp97v2C6lOJieRjcAf58y0pihJW3iFrcV4WdXDuenzfpcqwi4JsbWPxoIwteqDf/nzpGpP82S035O3MHz5i61dMskx8potVkRy4nrEiQ3T92pINDQrGeHUcHeF9kFh6MXpHvFZMYws8X7QVtIS2xqYCvGzYVLQ3wGaKGaCHktDurvjwvNHEMb97vDzX9JKAmwKTCKfERURwFAsvsnQAI4/E9/KyvBRdWgBqtE4wgsjfdH3r+1bbHy690N7+rlNVoRlx8MDXq1oRHdG1GFGRmG1cb3b/3RvFsVvUHgALDeouU77au9KQ+IMqoVVHq8ZRlIbFpClL9aK1t8VkUFWtVO2zKVOTdtr759sRr+uytklhK9mAle1JiyaHZHihrSKiFOplHBDwRvA8n3/IASeO96GatKFNTXv04T679a9LbPVyvXM9patCNm122D78yR3tXR/YV0KzxkaKK6y7JyOlMGJJgYg1R3LFvBWZjazi07O7JZQZ/BHQ8ZIQFsNgTbYlqceWbcPQWseNK6WI5YciduPlZt//6hKrDe9qqfDOug/3IHnhCmVBpJKAWJIS0SNctQC20R4Ovt+AKwdUDe1LO9HG7AE20ZmcZ2F8luVgosLYdR6hoXhM0PBjwU2b09ZsW5K27K6tTHRPvLBfIpdQStaGZpYG0s0UJPzdgJu/vaFRKJStIs0QoDFkZ/78JzZlyiQ75NADnaFDr8YSCQAyFkeT4FYL2dJHzRY/KB5aURcNZHxPTj6bj/0fAC/oZn3iJybG8HMkXrXB0nJx4k32uhN77K1vz1qrbK5aeIOU15NWD290AzEADArDdDSXl+OmZML+qVTImePF4WrWnni4zb7zb3fbj7/6pF1/cdgG17A0m1nv9LC99Z3ddvxbJulZK61cXyVNHLG+Ydkdyn9Cb0o2RsyqdeZQ5hxHR+viwWmG8s4/jUYtFkRn0nVLxGTslXK2cOF0mzZ1qv36zE328F091ixO0ItAYRrKX4WTUIYjqlgJyron89a/oa7yUEdek+rYaW62oL68BmYPoGlD2hvg4tIlyArujbuQdiW2nDYG4F7pkbgPysKGgtuS9FQLvsiJjw/hIUEqic9m3RH4NkE4aHHAhuTzOy/NCzpXHZpC9XfTX65XHjfbxz7+IavJOEtJ2RQK0k91CQAWl16N9a7B0pJHC7Z2pU41BG6PbBJt40YbdZHTpIE25b5g8Uk2usWmE6rudhm6G9dJew3Yqw5L24knt1hLt4AvGhKKDTutSH7Bc9XDKH/4btBbpLShQt1JbXqu9rpajRuydDJiLekZ9sh9Vbv0glX2/a/12Xe+UrA/XmC2cpEALtyd/tHZtu9B3bZ26AGBtGpdGQxFs/6+kGwNeLYogOhNLA54BSpGZWXA8jlAhshjMdGGEl+LqNmCnSbaQQfNtNUrKvbgA2ZdLT0ShqgrHvWNTcEwPLN1kolWGbYVe3L1kDg/ggpsvJD+LYR8W3lA4/0C0PTOGJJMNqFtsbGI+PSa3Ssyr6XZk4enOFuSXhKDkphgpoexUigzMQhJZbgWzg3/esc73uHiEjA04G1UhtPeqtS4+LPsIPvK1/7NDjxobztCvLzmQJkSsBsWjQOaoi4lLiNjpeGYXXnhoN1/h7SOuDbzJZ2CduASMhzPBuCQACrR/RhsTtvyewD0rAzF9YNLbLd92+x9H55ju+1vNgivDOcsHBP/dcPzDOjg3kort1iQp7hvCHDDtx03Ub5u4CVnyTTwRpgkxHqvxx6uWGEoa+vXNe2Be1bZ4ocGbMXyurrtmM2cEbM5cybapr643ffIUnFlDFMZY6Jj2AF867Le4HuXdcuXC9LocdGvuA0WRmxib7ub67lucMA6usN2wptmiEOX7aLz1eNU0qI1CWuTDGJ0YrhDSVgeAg8N3ql8qd8mT4vbTnu0WyKDJ0aFpS71vq6uZGDiacLPTRsCTNoNRwDrO9ITE6LMWiZMGURj8xsam+AqrkfxcA9CAdj5mw1w/41S+j+mLROJrUzMyuCFoSRElWE00mUR2kpkGct0EQzPCyHNbLwbAVDU429/e4nL5w1vOM4KrDfivAPQkpC4NmtroCHF/VQpq5aLkiwqWL3cqorXRXBoZ+mrq3NcmJEycsMYddkHm/54qnK5ICKOP2hdPWF79dGdtvt+ZsPlpqVaRAEkUI2auo56p7LvFuDE7fV8eC66ORAeNuXjego9O5x3W66wVtp1WIJs4tJx6+mdZPlczZJhdd+tO9uaVQm75HdL7L+/tci+9LkN0uwVO+boWfaG1+5t02eXrK1nox4FFSK4SyDnSw3VsKXUGxSLAR1pjXfbSK5ky9YvtZmT2uzkN8/WbzW75pq1Vswz6ykuDV21CtIlwePz3cKWewf4dKUUs0oxZmtWV2xkSMV2mptaGpOckVlzBrTX2oxV0PuiuNDOzK5HUwNclBXXUL8s78DSHQCbv7mHY3oB3xNsSXpJwM1UMQpMXDYJDU3XxWQE4q9J+L15QV4U3sUCjfROTywdUKPcZK9/w/HW0ckSC0i72kGNEo6Ip4mWBEaPgB4PqSutyECrqNH50BPCQQPCJavSciUrV8uqbM4Fvu3N6P6bJKNGwCk3CjZnfpsddNgES7Y2rNYcslBEdES0pek8IJ0qSJvEIK0sojIk8yoXLgYRa1EXi2ofHQ7+dgImwRLoaWQ4fUo8emJPrxVYAU5UBo9GJjLR2qJ72PDanezqK/L2rX/vs6uvGrK58+v2xrdNsX0PNZswfbWM2A3Ksy7jkcCttHh22Iby4mJ6L756vGmIWUetdthRPdbW0bQrL19la9fmrLenyyq1QevsCFmuusGqekfqGXoWjTAkDgeXga5jFtR3sukq6OnQQUkwSaFsmXTwjUyUEqAlZohRSkCPxmbP8Dy0hLalJ2cpCOL3CZjjXsDPdfB29luStpqWIFkkCoREjj1m76XTnycxYoU7iFnpxI9QeEJcGXJnziMjV3RjDL9zDxtdE9s5oi4M0pxyypsd8OOxVlW16AfYoSutCjxugR3xtWib3XJNv918TdUitS5dR/cNDRAvr+Wcppw3P2QVcctCcaMaVkBFqzrPBr0AtIJ3US/Acmvxgh15XNaOOl6Nl5DAJApqbGbCE3aK2zGgHYSmEAglhqv8lIMMLnX2wgP+YfJHGnVtM+2mczFCWCoGoZ35oYY9cHfFqvkuGYAy/qRVo+G0qFjUOrPt4v4xe/gxZrkPOXfm1ClZ23vvyTZtWruoRd425TYJMDnVu3oGPbWjPWPD+T5rSLu/TRp70tS6nXfueimJurUmJqnHachGIay1oXKrXJSfWTwVPE86Fj/PVVbYxFkFO+SYDtvjgFaLpQmb4B2wI/Qeeg5ChG1SVo+QzgSxI7QbMUIYj0xJQ5NDQ4jVB9iMcTAcz4QFXML03gCdqEEUoI83eUk4Ny/gQUwBADLalo3EOf+SjFQBaObfEeGHH5vfmarEC+Imes973uOWwmXZNIDLms9INvkiySwz8PtLfmcnnXKC7bLTjqoEUQJp5HKB7hgpR3uzjFjerbBUL6TtsgtW2uJ71QDVTmlHdZ1hVpfKW2d33E54Y7ct3CMpDipjK5EX4PPG3Mqq9qyaGozm8Z5RK9fKlu4cttP/aarNmC/G2SzoOdLADQYfACqCzaaGxnPgegIJCd+ghG8DBjQ3/u6QaFO9XRtfUpNotggMTeLNk7ZpY9luvnGDFYc6LRmjB9Dtqk/qynn7mLQc6xTYk7Z0yYA99mjO+jbUpIEjtvserTZzdlLG5ojlhxNWLSdsQ+UR8fp+O1Iae+q0Nrv5pg123/1V64jPUJEw1mSFJODHaicZoNgufAZlSPhNxmHWay3RscxOeu8se/M7J8mAHhkVUL0Xg1HOSOat1SsqBQvpBxGCRAXi+mNQDk0NJSHKEzcg7UlYBcvjsQAQbc0seEak6bXZcx0cnbQlAN9icANgDzrAS/IF4DdezjWIQM01cGgmHBAdxsRduismhWI8Ymgwa4YuC82N9BL2yowb8kJA0GpMKp05awc3Q4cVUSsyeNyMb5WD0UpWOY0IYOFwymKhjA2tj9rVl/bZkkfQnh2WSBGfscHFgpx00hT1AFW75tr1LmJvxx17bOEuXSpDWkKTtP6BnLRkUdRGmjNeUyNvsr1fFbdj3pi1bJe0tSiHA3FTxiIa22kv9DyH2ruZOPALXSMBgDI4I1Kgd64zBnH0W0jgYr0TppBxvjQSsjtvGbG+VYS8cg09I0NMQd5UNbqDwax0usW9+4a+YSmMnK1bz3IWSZs3t9t2WtAicMStYDnba/fpdtCBU+3qqzfa9Tf325TsbBdHTrs5CueeIRuBLx0TWiutnUw2rVRfbZHscjvuLTPsHe+fYR0TK+LqFSf47p3wCrlC6Z0QZLS/3ichYWEkkpFn2p6RZgAP9UQbo7X5G5cgbUyPDaC5FpcwC2Uy1sHMeHCDcwHBeK5pi8HttTXg84QfAHLOn2cPMPF4sJwWkszXt7COmQBMF0WXhaHBcDu/E/IK78bY9DSH7uzCC39nS5c+Ye9857tssro1qEk0Ls0dw20FuNVzVHVcxzfM4pQx2/Ck2Q1/HrB1K6WZI61WlRaKJfPi69OtpZXRzVUCxRpbt6Zpq1fm1aWGlXer7bN3xmZOF1UoZ2zjpn4r1dZYPbbUjj5hqh10hHoE0Yt6Q9o9zBC6tBfAQH2huR26lTCwADcaDc3tIgpFS5x2R9sxUKKyikpVayMSIimEmqiJuvr776rZ4ocGJXTS7gIePQgADxKCEzyG+k3EZbRFklbIV6yvr2Ab1jb0PhXdG7P2zrgddtAEmzq1xS69eL0tfjhv2VSv5YsCoNoKjxJ1R3LroQjYhA4zeSKaHrJK+CE79NhOO/0TC6y1S4qhMko5anonjE3n9cFLgp0jYRb1IgKRkWEWvGTUGdcf2hc3LwN2gBkQe0cBwVR4zfgdwxOXIWCGkgJoAqwYqeb355oCVbuFCYADQEDN5oGORvddE8CEQzFAw+fhADT+Tv+9GrQ5L4AQMHL1n//5ny6ghrxInGck8+qrr3Felflz59rgIMvdEpxDPHXOEsmqNB+hnazIJAOzKgCogUpSrrmRmoxMKMcGVf2gHXjwdJsxMy5+t0xgalpv5yy3/HDf2oTdfkvVLpOm//Of1qpm0vaGE7N24pu7bM6CNjVuwWbNzZiUpWCmd5bwNKR5Cbvl62NBXLOE3C2PQNkFPwDgKIp7FSUHydF98H648OiFhFOdqVtGynraTCmI+CaBbCioB9dDIBDs0eC4LVlzJeKCv+oqfzY1wTpap+rdE/bkqrKd98eH7Mprltkdt+ftxmtz9ujDVasW2yxe1+Y1tp7o/PI8Ai2MbKpoyWzJNo7cZ0e8bqJ97NM7We/0qhWrm6RMdCE0pA4lCTxP7p2d56ekNuDz2anN3yVihQIfPwLFAKxgAxuLkUn2YIRheHpu1vnmHlY98F9rYCkP7t2S5F5xS5MHIJLIMRTEA53kAY8/E87FOiTMSgfgAB0B8D5OXprrMTYANL5SLyBoAV7wsEMPk6CY6IKERt1vXX1rWbzXdemq3FgCvqdunl5W9T4y3LANGwYsV+53NOKII+fYfvu12vkXPG4rV26QEalnWps1a63Swp3SXAmBJWFrVrbY9ddttMsuXybgZuykt82yk086wnZZyOx6ZS0A1Sr4sVnrOiWjCy2N3xpNjSbURW7UThqb/eYEOKmb0WqX5nMRiKOTI5iCxkoNM2ZHrb0LoSTEFQEB2AhEoLV9wlOUzUatVfSDIKlCrq66iapu2m1S2ySdSdnVNy63a25eLvBPkvHdbiPFprVlVK8A2gkY4Ib0YCMoTxmQpfrjtt/BHXbyafNth51CAvZ6a2kjEIoJD4y+Bh4q9w90RJSLpSYw6Gm7Cy+8yGEBu4o2ReuCAdqW3gaw0+YoNYxJ1jGBc2OPMZjHB7gwMAmN9UFVW5K2Gtwe4GhsjgEk4arMnAGUjFABUDQ13AoPCRwMSxmgYxUDXO7lJZBoKsS/EPG/cHBCJWfMnKbKJLoMlxQ0hOZmChaTTYnb1uuoosE2b1Yq5yUMg9bWEnPxyAvmt9jVf95gy5cNy1hrt0yq23KVYZsxrUVdrUARzwgAaRsU5Vn5ZJ+teKJqN934hP3sjHtsZLDNHrjD7LH7lXWVuZiiIzUBaqQowSyocYm9VhcNSBoxFTOh31t0HFj8Ttr0q9scUKk3/LhMt+IvwIEyELhnJW3KDBl5YswmmuUoMUqS1oLeRIqySfMWS+EdWWdrN61TGSrW1ZmxttYW9SZRq4wkbXiwYelwh01um6nqiI5+HSKke4KS8KxgoU71NszxjKn8iX6bs7BuH/7UTrbL7mFb29dv6Syor7tgNKIKXQqaXYmcAoElnv6OO++Q4X+rm9lOu4IHuDb2FIBHsXnAAmS0Odya84AZjs3YB98/AjNbCmzSVoEb0CKFJCQRDU4AzBlnnOG6GeZBMrkXaQXQTDyAc/FSGA3wbQwI/6Ur8uMlnaGjDcHA2sZ1yNpyhH0SHNUUey6WKqIVCQdQ5vTlc8FClCy440bP6GUZ3Ek2bIfZ06QdUnb7bXm78/b1Fgt3S9tNkpKN67jNlj0p/q7razW6/Lh1ZifaxE4AkbWhjQ0bWJ+2c8660772pb/ad//zIbv2sootfVhQFkg6W7PO5fjUEDsRcmhbQDxava77Bg0OnZzQxjkWh4ez6k+VGv7dkObvnhi13qm6Pr5e5HeTA56JdrmeQTTgqRlBDWvJtFprul0gZfm4mg0P4YKUERxCsNQrhrt0qYzrwbIN5cuyPUx15p7uklNQDtxDFoqJjsWX2GmnL7A9D4hZul01m8a/HVOPoEeqTYg1Icwg8PrwjniK6DnibmUuFkIC0FAKrqdnZgPQaG9oKloZ5VdTb03oBZqde6Ai3A8V4Xq/RIRXoM81bbFBCRCRREBJISkcIMaNh+WLnxpgs+YIFAPtC7diuJ3IP9w+jEQyu4a8eAnyQUhI/I1HBSqDgcnopROkUSMITRQOpZzGRXMncWcxOKOGV88oLKXsgbvXWN+TETvkoFl2791xu+euQTV0hxpC3K9CUI+0oowjmZu6DwMZD1BVDVl1RhPfYY+FRVmsUwbqZN3baqtWbLBbb1oso2+T+9JBWzahnkFCIoAnoy2O/9J1EOtSrpbcIjnue5MOjGxCsqMmbPo30nBD5mhw7IhkIi0wRcVVp9m0qV0y/vpsuLDMipW14ry6Oxy1WpmJzQEtYoifJR4qGNMCaTyhOkzWVSfEcvP5wGAOZUQal3DVuvgIs+UZYmdCQyIlwzI6YtXGGmvpGrIPfXIvO+L1AnSioPpWsQVaRl95FhGNUJCKDOB0OimByek9GRxjhFMUSHbRJRdfZscff7wDLIqMvY8hoU1xLnhDkbZFwxNAx/oluILh67iK4d4oNe4h+f1zSVu1bglgBNC4fdizhjbcCVCzTC1amOWGCZBimtHKlStdwAzamG4K+sEGuLkfagO4KRL0BOOSl8ZyBtiNJp/SK6iR1e3XZHnhjiI53jeoxhUFEkhSyQnqaVvt/lsatuyRkN1207DdcmOf1Ys632wN7nGaE/0VaEAqjzIQcB/WRq2oWI76ICxwVL5t0wxvsHJtQNy0KA0btglTGrb/IT226169tutuLP5OA8K8RbNacuLQsh8KahgaR+V0yXFobe40o5MM9oie8CFW9SRNgbUKfdez+9eZ3XbzgP3l+qV2/52bbKBfXXptBzf9q1bic3xB1nEJE5F8eprlC3mLNPSeokej4zKOS7uYcj0Pj5JbPF+UJFfst0zriIVTq+30j+1pbzmt3RqZYauH1WPUJigPZUw1STAcdYnIaFfBws4FyvxVPhMYcl9I+/z/+7SjIAcffLDb09a4+9hw/+IJg2NDRUnMsALM4ISvY0BjcPeiyNDiaHp6dzQ/OHmuaYs1t3fxobnpagCl//YJtAOpw0nPClH4svGKIKVMKUPj4yICTGh1Evd5OQNoGBdobpYqRvprVQaIpJGs7Awvx2Wx3IM7XMPRXSdYTKbWZvVS2BrlsP35inV2953rbYjRaQPcaM7gHnfgKAPanmhCPB38jiGr7lBYJLIPxYtrF0qUSmb1jG5rVtotN5iwDetq7gNSD96/xtasyAo4LLsQsdZO3R/vt6HhNaJr+GiVAWmz1tbfhAxo5777HmZhd71diaAhEQuM41TV2ifUbefdsrb7nlNtztyp1t6aseGRgq3ZtNFSTKFTchM0pJ0rNWlV1S3aPRYRVdC7An4nRDJa3cwhUTaoUE3GOB9/qtdLzjPz5rftYu29YRmQMYuk+yTEahcGmtQzbq4vlbduhNAGzysXMezx8Zud+bNfimrcZye+8QSBMuNoBRoa9x/gZiQae4v255gl1VCEjEyzhAeKEaUHluDajH14heO355q2ys8NFUHreu8GcdksYwbgkVykkJfDt41Uci3xJEgmw7Ek7iUf3+1wjOuPYVv8nwgE3BvNzQsGUX8YbXgiRsGN10GNgXDUqxK0ZsaKgyG75Px+++2vHrQKH2WKqIsT95R6d+0UbBwH/BWAMQGCtboxVt30MyUHbj2G2fHEjLNIJCtTEaAUw58e6dQzEzbQV7EH7l3pPsS05smS9U7K2LQ5aPwRPQqjUoB2HBywjGoh5c3SZXg9mKsYTGSAOrB6FCs/5VWukt4Zj0jYZu0Qsx13zdqsOZ02sTdm6zc8IeozZCW+HejujUpIZIcksV/0DjqDqxFcAEZGaJuySxhWr+u9c+Wctbcl7MjXTLBse9MeWnSz7bb3ZMt2SJFQL6JhmxUI9SWlUq8zd1V1pV6Gz43wgak773rAfv6zM+zVhx86uu4f39ppcd4RtC+2GAtoorWvv/56FyiFOxiNjELkN0avATxUlTgUsMLGvb5nf65pqzg3mttLFZKK850uBp82Ia0sjsj3CPF1kligxU9MYBiWBJhJ5If2hurA1zmP1oaqIAAkJiDgcgLEIWfIiJ/TXTKQICOHqD/oSiUXsWsuH7Iff/tRa5Ym6pJuN1wdTBwA0C67YO80t/4XwAAXI2yUA7BzHmdCtc6ae/yNdwjNyg8gRvdrX5N2a0n1WLjeZYMby7Z+7WqbODVue+7X5fzwDQDttDUA51j3u4RxTCPq/aXxeT4RefjvWbosKpsCns80sLI0cjwdso6pIZu7Y0g0KGl7H9BjbZ1BnExDNkK1FLNCEWMbTxJGX+CBQXgQasJqCS6LRuHdAroo3GuO6rTps2L2u4v+ZFFx9RNOmivOnpJQcg8kX+Xlfo8tjvUHwtfakhV9HLL//Pp/qLwRO+zVh0rJFR3XRql5rk1vgkZGa6O4WKObdgUn8GsmhTPqTG+Olud62gCF5pXolqQtBjeARqooAIUBgEgpBWS1IXg4i8cT6oiEMpCDxGIBf+ADH3AABdAUnjx4GY6hMgwAsLwtlYTW5jcqB3eXsCdAAG4GEQB24EWAkjDLO1RL2ZUXDtmPvr3IBte3WCIug1XaPJsifgM0SlAQCIfMANg0Fpq6UqlbVRtzHzHAgmlW+lt0yNmEEc5TVvgrOWCUUQbpZrw9TWJBUlaSXTBzdpvtf1Cb89gECXTg+wbkT2khRhgpBBOdMfJcEd1AUEVl0t8SJNoWvk/EXrUkaiEBSWXC1j0lZI1K1JKpjM2Y2WvdPTUrSRIGRjZIO+O2k52i+gD4vCehCm7dkVpBWK/aoYdNst32iNtVf1pq9z78sO2/30I74MDJTok0KSteGVe/cHUKRqQg3+ikx6mqvRN20cXn2uVXXmyvf/3xro3AwLRp052So92glCQUIdMI6bHh0/BtsEAMPwYlQoDGJoEnAO2UjMqMwuP4uaanavk5JsDJQwE4L+V9l9ATAmV++MMfOk8J4MQpD+8mhpuF4AG1074CMxt/k5Bm3Ii4/fB1cm8A6iB4HTzCaQPtpzxCJUdHgrjsqAu6v+nPA3bWGffYYF+7ZRMscJlwWp6FcxxyuJbRRAkELi0GUcg6k4nYhIkZgahmxVq/FcvrBeuN+jtnsURVXT8+6cBTY+KubkQuVrRIoihgqy6Uf75AaGjSKoUWW7O8aiOb1CA1FsgH1DzfSdJooiy4UqFTfKtdGlt1qbZUeQIbwK0tGGPtwBFd01DeCT0nKl4ukVMxSkN1++vND9lFv7/Yliy73+bsGLPjju+yN57QajNFicKJghUqG60g6xSqgxIGOKVS3fbeu9v23CtmV/1x2BY9krdWGeG9XdNEtyTQkn8GhYI6zul9B5VZ3gkzwsa7ZjKttnrNCrvgonPtwIP2tclTeiVkcWne4IMAaGDsMO8kQIERcuHjSsAJy66h8CgTIPY9NED3io8NrGxJ2mLNTeLBnpb4REH4G0nDf42kIgAYEbgA6ZK4xhfY38+GMOBRIaCKe/w1T70gmkeag/gRcVS673xxk8WiGctE2+3W66r27S8tsbVLJ1o2NldcWMYRFSRQST5UwXhD6FLzTgMz43xkZJNbAu3oY9N25NEh65wQs0p9kw0Xluu6QQmPuGolIiOy1bncWFohFhW9kSariO9msspfZc/n65aM4Z7ELbfRYpkB2+tVU2zC5LBoDdfQUMRz0GjMbZSAERLrhu3VE6hXYPg6GLHEhmALievDuQn6TwsEKBIJqjh/VLRpU3/Rfv3zu+yJRVlbv7LLlj+WsKHBps3YIWu77CyAz2R11YT19a+xanON8h+xWrNkc+dl7bAjWuyWW0p2370bheGUq9dXHdxj+x8qKqL/C6URGbXqnfVO1Yp6FfVQURmpLDzKYpvMB+ELxEuXLLMjDj/K0aoJvZOsvb3DORPQ4CSATfvRnriCidmGkmIwco7FMgE9gXLeUwYW/J57t0Rrk7bKoGQbm3xB/HmkE5cfw7DwcdaqQBMjoVzHnpfgmBFLjEjWLmERc34jHw9wEtny3USW/uJ34oeTyay0c9buu6Vpv/rRanv4jnZLhqY7zeYmt6JpEQrpolbVd6msBkupJzAMsX51wSF1zxNt8tSq3ftg3iZMiauRW23+/E5p4pD19eVdwxVENdqyxI4TTxIsFEl0YaHIJzgkALWEpdTwfIDJBKJIos923rPdZsxOS+NFBOLR+hK4cfs5P5/KBs3iG/HQJR/n4TQ89EWCSPhpNJZys3Ma6rEYLZQSdOBes6JqF/5mlRX6d1Z2c60wnFI9DtvadSPGx2BbBLA99kzY3vtIISivlasfs4W78T2bLnvw4Yrddmu/Ss7MnYxMh5odeVyr7SRtDuOriwLRLry7+8BUmJBi9bKyOVi2+IYbb7ALL7zYFi7c3aZNmeU0eWcna6BMcD047QN46XVJaGsMRmgqo4/MxmJhHmK4Tz75ZOfXpn4ANMkDe2vSFtOS/0vyhgASSfQXXRXdDV0Uid/9CzAxmLl1dFVUDMkDe/NLYtCpm0wkQVDJaeaktPbSR8J2zs+fsOv+tNbSMRmqug1O7IAdIuYDpJuN5E3Chtcjb+m2ug0VV9k+r0rZQQdH7OabK3bjdf12wTkP2zlnPWob1iXthNfPtve9Z4GumWgdk5bZxspfbbjc57RWvtiw9QOUk9HJFuc9ocuOxxCiKUJHm23sl72g56LZASuGKPyXGJaQ+HnYWnQd/no2PBP6e/MxK8MSOScDucz3b4qWaa1YkWFRCQLhKLffELGhvh71LK0Wj0TFc6VR1ZutWZW3B+7J22UXL7WLL3xCApq2g/9hin3sIwfYwQd12bKlZbvx+tVWypcsFk6oTlk3pWZTZwlcejcGlTJZFgwiXqgquhR8UKtcwQ0bEl0ccSOJzK3cacedpWBS0ta94tfBF4exseDaCAe+bRQWyo14IqI/cRiABagsDgf499YC+ZnSVtGSv5cAqAc3vIvEy3qJ9Bqbv/F14uTHiKRL8+Aem6T39K8s/QRuqrIDSUZa+/EHzH71k8V267UytnKTLc6nq7nUeUEYrhawnWcj8F0PFpmBE7X+jUtt3/1m2OGHz7Arrxi0u+5Y5+JNMMA2bWrYI4vW2aIHc5ZOdturDozbzrtNkBGn3wZqtnFEAqbG7ulqsVqlKS0pDctIoIpddYoqZCOFVdY9uWz7HjTJokm4K4Yg74WtIVnDs6PNBUY5Ts4mPuCOqTeEQW+s3onvSGZbIxaXUA8MrLdkpMs2rjP79r8vs76VHdaaZp1y5RtVb6c7E9FW8XLVWJ3lHiIy7NfY8mVDAtMk61vfVH33y+Avq/fpFHAzVq7226RZVTvlfV2W6WDmvISfxfyldWlD2gleTJvh4rv44kuc1+vQQw9xFMMbkrQdfBmNzRA7AzTAC7CjnUn0zvyOC9DFC43OuAEjHi/PV0K/vSAJSuI1Ly9DwTnnjQcvqVQgFjMvCkfHq8J9/t7NSZdzDxWdy+X1J4vZhO3qK9faZRc9bsXBCdbVNhWlrbdSzxARXcDr4H3LuqNVSjYmsPf1rbF58ybb8cfPttvuXm9X3/KgTeiaqq6eCMGseoMJlolNt8H+FrtWBup/f3+13fbXYZs/b6J96rNT7ORTuq2lc4NtHHrUcqX1jv4w3K42cnt8y+VizJY8XDJiypnAHBhlIyoGPmkCNVQ2NyRPiRFENnqagK447Syg18Tz8ZQkkkUZuev0Di16h7BddWnDViwWB7apMjQDBTKS69MeGhW19nSXxKNHwqfCCORrVtbshmvW2F//ul49zogo1gQJc6cVZQRXmxtt6syQpSVARCLyfBQMbUPboY35G4rJoqXMnsLTwZxX2hJwA2pGJAE/q7fiLWFJajT+5z//eae1+doCWpvBHIKluN4Dmnye7/SCgRtp9BqajWMqgZcdC27iUKg4FsEEuFSmT38L8FHO2iAoqNV9CYABxY39FeGizZJxPhenqwi/ZB0RAugFAoaIXZSebh1gOeP2pnV0RuzEE3awRx/O2R8vWWPTW3ex4XxVGkzdcyqr7rfpPsTa1tJtrZluGxxM2MP35u0nP7hV3fyATZoStdPeP8NOPHmmTZs9YpXwI+oRVtmwNCxsHl9ye2uvFXOtNjhA0dHcLBmmso26IYN6GQW1AzhAH90AvsrPJ0j4UgMjniytQPxINtljK5eYXXTOYoFc/DYeccP9lap6tTAxLrJHZPwNjTT1PspKvUE6JTsk0WGFnMQllLUpXbN1Pqi/nBRONF62eTu3WFIGdjNckSAFcdYe1CgkD0ImnRAch0cMZQWIAbSfhECCcyNsixYtcv5uQih4X7Q7Ew/8d4q8m9crrec7vWDg9pKI9FNBHqge8PyOAx9KwrrbdG9UFufHgvqp+/hXXbU0azzC5/SgNCYNMt0mTOxWQwYa380yd9FzOvYTWMVTuL/alAGZ3GinnjrPVixr2qUX1q0tNd/q5RbRmZSlEmEbHOmzbCZqvd3t0kB1Gxjimh4p1OlSuHPtntsF8h8+ZHfdvcaOOi5h3/rpQjv1QxmbvcfjFm19yEZKi21geLWjQOvXFvWcBmKpciDUbNgZhBqMDo27nkXpbzS3UCeD0xma+h8jjkGTbGKq9a+J2blnjdiqpQSMEdfBJSwfJ8URlbaWDYKfOpsKWU8Hz6lb34YBNXRatsAEN+l400ZROBd8RZ+GCzTrhvjDUgwsQ8dzqUs22os2QTExh5XFlIj4YwQasLLBn/mdhFB4tzDr0RBCQWgzQPbtyx5Nz708A3y8EGmrOLfzPY8mr4l98oVGUyOV/lrOoxF4SZz3nMfgoDL8bz6vsfvgOOxccVjwaIa4tBazbq67eoX195m1SEPhH9bFbhi6Xo1bWJw2KgAUK0PW3VuwE940y0aGm3bNnxqOW/P1YABWqwKRmqXSLERfcK69VDxtqaj4prJU0dT9Z60l3e4+rrRs5RNWF+gOPKzFjjy21+bs2G0dPSphtCStv0n6u2g57WfNj9n+h3Qqb4RaHFuUIRJipnzUeXRUWPfevF7gLuSYukKbxVxvxHIJ2XSbReoddvnvivbz7z9g8eYc1ZW56WQMIpF/XT0Oq8VSt+WyMkTWYxU3epiI8fnwCgRIwtsyGsJKwFXVZu/SsOPf2mZtPbKTlJ37YrLqhHZDY1P3aG9GnRmcQ/NiMDJszrP8aDPHbCgt4vA9VSFSlAm/xGrjHaGNifTkN9+23Be08fOXtlhz0yAAEwB7g5FjzgWNFQzOeK3NC/kEkBmJxB0EHaHr8td52uJf1r8wv7E+CL0XPWQyxaSEps2c07R0S14cUt1zSc9opK1R4UP/bbpX4GdYPpazZnq9HXv8DCcQf7hkwIYG1ehhYk2CaDqGyLH+WV8aLYgHwAFGaJDCFZDrlkzzVQKBIzbJsrajXX7RE3berx6T4DRsvyNa7MOf2cE+/7Wd7T0fn2AL92nY5GkJNeoiGaHKqdEiih18N5KVqWIx3GW8EyDjXXVe/zEH0S2or96GkVKGyZOxDotUu+zGPzbs1z99WDQpLTynHLCLbkSV3kFAjuB/JrZamlZ1hP3KM+jFnKcjzBogcGhcsepV9WyEcKeFndY7KaVz8cAQVV14vu21LfNbmUwAsNG4gBsN7T0jnKOtfDQnHBuujYAQ1Ylw0EvTjnxcAL7u8cKz2D/faasHcUgU2GtnzlEZFJxzvnI8H+N3fJ1MBoWLMVxPxfCCbOTl832mpKZSJtLu0VzwnGrMHrq3YEseKUsLT1Qnq4ZBs0uLtclAypWfUPM9am87ZYF196Ts9xcvs+FNEoJm0loySWdQEePM92aCmBFQITQrJz1IyGaoHZ9tUKZiWe8loSH6MC+gLl68WoAtWXdXu3VNlAk3PWw7LeiwvfadYr0TRREyJeudHhLXj7hVVoOFg8TNG0VpeeKv4dhlUQ/CXmUnCG5oboDOSGQmG5fpHLOrL6nYz36wzBY/WLdMdIqen5ZgcC3FDICx+TOA7lgbqovRVNLoOyGwLo5d1zZDw9bSNWJve2+rzd5J9SZtTbtBgTKZtBsyp21oLwZfaEMmmQBqFBI8mw3FRbvxO9SF4Cjih9DMGJ+4AwmBJlaIr9IROAdWaD8wQnvT9s+3t2SLwc3LII1P17Qk9rwwheU6fqPwvBDnCJhhiYd3vetdDuD8huuIvNieVYpljDnDLEq0XFHNJG0nbTiwLmm3Xr9WxtIk8WeVRc9Pi3OOlFe5GdyHHzvB3nP6ZFu2NGy/u/x6a42LP4iL83k5UMDsF5aGYEUlt1yBj//AP86XEcIjoi0YhCITvCtaXs+IhltlpGXsrttXaN8Qd22xjjY1lnDUPcFs7ry0zZrXa/FM2WIJ+LSAxrA9NgGx0Tqu1iWkERoWjUlPhVbnC2RxAUuaNJ+wy84Tz//OE3b3PUVric0Qd26XQcbsexQGdY6AMLopRFN2AZem2LwmOIKqcyS1hv5lNa6wVZqrbLf9mnbCKT3WofIODeVdr6r+1l1JO/A3M9LZmMANv8Zr4jkzxiRtzHUIBksywL/R1gzaES9C2AXx2uCC8Q6EgHtIHtQe5M9n2irN7UFNQT0gAbUHOnv+5mV4CfZECjIAwDA8AzaAGlrD9VQK2oIXfeYkcLtlBKpucASDqlnNWK0UtquvWCE60m5NZo3QsLGCjVQfsL0OiNo//vNutmCPpA0PmC17pGDFvBojLmAWxLH1TOKbg682jIIgqHdloncK57QXGBlZlGZPJtTLqO2Hi0QxhsWFW2S8ddmixevt7ts2WKTZY7NmihbIlmWUvrVbx2kaE3dd0WnocFQQU95BHckmkTHbrGfUC6Ula/Q9eodG0h57uGDn/GKZnfuzVbb00aR1JGdaNhnMRXTBXUiRAy1qGoBrc+Cm/gE2PSEGNUJA+9AfAG4ppsZGS7Y9aW99V5coVIvJDrWRkWEpBbwtsjfSCdd2DJkzFQxQMuGEZwNuNDcboGaj3XDpAmK8JAzWQD0Ie/VfUcAPDk8HBx4jCITX2NsMuD14SVSC18qc8wUH9P46jvkdY4OuCiAzzE4FUWG8JNqASvIv+z+T8gNkIqqRsBqhkhSYhSDxyr9cv8E29Yt/xzutWCvYcGmJ7XNAwk770E62+/4tbmb8hInSThs77aYb7lO3LiOvmtCzkspT2HVg03tJy1HFnAtiQQIDF23KgjTQFjweFZaaFaaYQlarqwy1Ftu4LmH33dNvix/hCwhZ6+yOymDj/XHniVw4Nx0rQcX0vtKQ6nWyyTbdK0lQWdIi/wlp7FWPhe3i89fbWT+5y665YpUN9XVaR3qeZSRYfPmXyEWEMtD11DHlZuO/IC48zHfiEc4Go6FqD9cmXMRgVsWGSivcl9Teefps655atXoo7+gWseyMUhLIRZvxoVtCI5g6Rj1ANQh+QoPDtWl32hefNksysPwGyumnP/2prV271g25A2pGnwE7lAZXIvdw3di2Jv/nM22V5vYam0KxUVg4NmDn2L+Av5ZjpB7OxeKIzLYB3Lw4FQW38/c9WwIozJuMWKvT0mguXMcP3zdiSx/vt0S022nbmfND9s4P7mCHvy5rVZP2Fd1ItirfSsTuum29DawPWyo21Splys3HlJrinKI6DgCU2Ve0tB6TfwXEakXURQweD0MqGcSf4/1oYoSGWMdaz6qFbclj6+32W1bYA3cP2urlsNys9GXILYQTh24I6OmUDLJE0oY2iNbpfXIDMtqua0pLD9u5v1hj116xyVYtSevpsyUAU7hbdYtWVomoI1dGaWe3oCb1JVDj9oSaAGw3E1/v4LS29lyi31RSUaGitXXU7G3vm2H7Hqr3T6n3rG5SHWT0jizcz5d9S/bQQw+56E6Mflx/aGj2tBmKiPeHRtIr/+Uvf3GKie+G4gJECJgQTjAcbQ7IPeUE0K7uhAk2FBtt/nyDe6vmUPqCUVAKxktSIaz95j/SBOXgPJUB6AE/PI2pRQzgAHK6vE9+8pNubRPyw8H/bCksbow3gXX0iNKjt60Um3bm95ba2WfeKVo7TYZch73vQ/PstW+JWbpTXF8GG9PUImG+YBC2X/0gb9/96gPWntzfhkcIBS2PzgjP66WkSZx/XNp4VHCwM3Hb4S0hprreGLKINHaDD6FqQzMij8xXrOn3RmjQGYuMTDbjA9Y2IWfTZ7YJFClr70jbxMld7vr16/pljLI8RNNWLhuxJ5aWxbE71Kt0W6MqKldnUIvAqWCsIHBt0hMIvypTw41yqmBQEQaqVA43OitOL0btzjUbUgIO3FJCbohJ9VXvt70OqtiXvzPTumZtkoj0CfAVS8Wn6Bkp9Up83zPp4u4BLNGcgA/7iDZlTxsCVCgGs6/wjEA5CKOgjTmPOxA3IPe8//3vdyDH340iIz/yRpN7CG5TmpuXA7xIIgWj+2IGMy/DJFG6H0DN77wIVITroCGMbDGpAR8pRghx3PhQ4Week9GgCAb3IPW8OwMNuZFBXaMuPRMx2VUOhGvXFezGmy+3tt6Svf8j+9sRx2Uty4rCtHuzIhpatFJtnWVaOtyi7IsXVWzZ4xtkAMq4VN0yl5CAqIi0YLEYBBSlUwILv2ELojRdG+hd+UKYtHlIAsBa1a5NtKFAw+oF3HcixaNx1zVrGXH9pPWtitvyxWFb/EDN7rk1Z3ffnLOH76nJBjBbLhoysE5dfLlDerXVLanGd9VZIi4Mj6Z31LOhDRjLHFMuR6EkjPB0Qd6VgX+or3xJwGlrsZEiwqZf8dfz+b6I6EfLenv7++bbnv+gt8lUbXCkX7YDS7e1SwnEraU1Jep4qfNJM5/Ra2qoCByadqRNaRPanz2rG6DY2DPIw3Xcx5IeBE2BCa/pfc/sceO35zttFbgpEAX0hSXCi7ht1lpGSnkRpJj5cXRpYw0JAM7Lso4cL09FwNsIh2QeHpVJF8g9aHz8v8zEYSkEeDcGYG6EQKGYnhWy9X1lGXV32OGv2dUOO2pOsKiNU+xoq6KwoMbOCChh1slLWW93i91252pb3r/GejOTje/FEMzEB1njsYDPEjbK92ESSZCt/z14XB/PNtog7DYf8n78xj16X5NwW6cA26GNxem1VSV1NZ1rdIn3t0p61KM01fgh/NejNEKSxCxIF9/tgKx84c78N/qsIOmPpwED8pEWmNYNbbC2ljZdEbOhwpBlW3Rvcp296tCEvfsfuyzbxeAWHi8UiXR9KSZNmrTVq1fZl7/8r27+KjyZdgKccG3ag7bBn40G5lPmBEixgClBUPjD4d60L/En0BO0s6evHiukFwLQY9MWg9tr7UCjBt9tZ8SR0UYC0fF34j4i+oslijEeASvXUlleM5MHFUDQFJqBc9AVtDjanUECKodK5duKfKAUTsiH/QEQo3ho3EJJxk5H1l59+D42b8esscaHW8vDSoIIHhYM2qSNDFWUV4tNmy6tP5ixh+9aLqBJW4Y7VRZxQlEdwIlXg2cxNYsAfYbAm254fNQrgbHmNoe8YO8OSOy9AGDcBY36TBtdMnXiG3psg7tQWZeXBGVzfqOJ034jjSkTLsGShNIZq5LwXK4h5ZG0TblFNm3usH3qC7vbrN1MxmnB+FhtNtNqueGKA3AqFbWf/PQn0sB3Oq1N3aOYvNamzLQfbUNPzUwaaAo8m54YLxiYIDgKAWCyCjST9+L8i5m2yltCQjOTWK6W4HNehO7s2muvdWBmRIvJnwsXLtxsaNKg7L02R1A4ppK4Dm1BSCXLsVGZgftI3ZlAwhA5xg7LMLAQDI0xNARAmjZ3/nSbMCnpFpNksKVSLYmvEqwkaqM7CSIqFWW8qItGL+64kyz34azdescSa4n3yFCLOQrC3EXoUDIpTZ6MS3BkA6jHkBRoE4g2b7jbRo8ZanSMVgnu6/ajO72v+4/90zaSB/dYYJMYaHHdj9uP+Q0Qu8z9MymX/5s9X/1tWG9P2PoH9ZeKE00OmCWW2Ps+Os9e8xaBOc/n/YadwsCl2hC/b23N2M23/EVG5A/coAu9MsoFYDNYA9ARAMpJu+ARIdaEYChcffyONodaQktpR2gn52lv0tPf8YVMWwxu3zjwLwwKfNd0Y7h9CJbBSiZ+gHOAk5dDcrkH7UzlsOdlATZ/A3KuQ0OwrDHXsyoRw7YcT50y1VplyDAjhG+60/UxjM2gAwMhDHqEBEKat1wpyOjjGy16jlvSQOARuFOptAy1ERcB2N2bts6OqLhwwVatYK2/NhmqYRl0fKFBlEsNz9D8SGGTjtU9OC0tALlNgGaQZ7PG5Kk03KiW5c/RFBwCvP+ZPKj99lQC0AGFC/Id3Tlgs5Gr35O8ZmcYnxHUqA0PO1Zu9fAGKzYesHedvsBO+9A0/V20cn2d6qxsSdku5Qoz2Vtla5TtX//1i85YZqVdxiBoT7xbGJBB7xn01DgN+JspYrQ1bYcyY0MoEAba0bcxio02/tt3fGHTVoEb7cZiKsQKwLdwG6F5WZOC6fpILddAMXDsMwwLkKEhVAbg9IDmxdkjLJynMhkIgLfR/fHlBeJRGFxgKlNnxwQHuEIxpwpruvl+ALzJZ6wFOGaT8OUztD1l4KsBLJPG4A+/tbTRFTfVAPQYLbbokSFbtXaTFHDKklEZSsIsawcmUwgxDaRGFXcVBF0D0UZBkBMbuBvlw27/FDd2m54ZBEU9++bT5mNhFnoU/B6cf+p5Y89xDYZZYFQGcA5iYqrash1lG6ndbceeOMU+/pnZMiArVqoOCYBVlUltWK+qB8QHH7errrrGrrziT66nLam3gl5iO9FetMtYhwAuPz/KfMABB7ixC5QQAuG1PBihvbme9gX0L2baKlpCYVm+AYMCro2VjKsHWuIpBn+z2hTnWPyQCaFINBtawL8w+ZGoELo2/gb4VBTUhj33XnvtdbZy5RpVeJvymOzoCnyYmAxA65YBVlbMIMcnjm5T+7mGwXAqqtFSqayjH2VRKmac9EyOWndXxlYu22ir17G2X4u68qg4NzwRra9cmmltozEnbqYMySEs2LttVHu6cxwHSeLh/n2mNFab+b1LOuRvNxDjt815cB2DZNyrDRrU4G9gHSTckpF4yQr1e+zgI9vtY5/d2XqmNtQLFUW1uCKI96GHy6RbpIlX21e/8l+2x+772s677CiNW3HKCWBDRdh8W9EunGeBJT89kCX00M5QUwxP2h5lhU3Fni14nzHv+AKnLQY3iZfEcvZfRuDlASZLqHlqwXAs1IJYA3gYyxtjbDKShXT7F2ajcgC807T623eFbBwTtJNJt9ptt95lV199nahJyfG69rZ2q0tj8+Vc6q5UwT0ZV9eMvxqOL0Cq8fn2C9+qZHSzWJIxLM0uPDjNOnd+wpX98cc22MYNRffJDj7FXa6wLgszv4MBIwAFMBhEAVhMDHDakkwcsKmZ0QbklE9/p03HNrivi+APhIq6wDAmC86jnXk+8zXD6rkI/MJmoeeTIKvHYV8NDVoltNh23S9mH//8zrbT3hEbkqJJpKQEWGulKXtH9cNa5mjt8357vt1x+7322mNfay2tLNWRdFwbzo32pm1RPCSOoZoYi9Q/7c3y1EzyJTDKjzyDD97F98pj3/PFSFsFbl4WMPLyJPgVfzNbA54GgL/4xS+68Ec+eU03B3BZeYqujNWHMEjouqhEKoP7qQgSfzNqSaVkW7KWiKds7pwFtstOuwnYwYpFt9xyq4CftenTpjsh4NMhaCJAjRsPg6zulkKICgRqHIGSGfSqb+ULXSk5LwifuJs+M2kTerK2bv0mW75qjSAUc7HPeGQEJwcE17z6h7zr9ZBlUvpNebJ8mTJ05XYYdFyc53ka8czbsyX3k/PQMHeRv3W9y5ieA16tnqdas7QMahaFZ2SxWqOXUdkagzZcvcsOe223feoLAvZuURspjlg8WXH+eq4ltqZYaEgjt9tdd95rZ599ju251542Y+ZUp7UBLdqadvHjFbQFhj5jFmhnlAEeEtoSuws6yrLVaHza0AuDb88XO20VuKlwX3D/IkgpXRG0BKAyQsUXq6gcwErlwMFxHRGQA9AJYsc/jvYH/AgJQIWrsSdvBktw/2HVZ7Ottuuuu7nrWefk4t9fYsuWLRd1mWjTpvJl3LwDJFoMTZfJJJyXhHA9likIQF3WT2pspqUJM5Wy+GE6ajvvnrT2jjbx/PWyJ9Y6Dh6XFs8VyIyu3KTxdCQuz6eiWXEKzwvam99d8kbfZirB+WcH8rMmF/zEc4E1+QfP8KGtxGpXWPjexJuTOhfJu29j1kKr7dDXtdmHPzPXdtpHhmVOuTSJTEQBMfqIxpZASsjr1aj94Ptn2caBTXbkUa9yAV+ToCNtgcICxN7gh0+jpRlwY/VVgE3viyLDHuJvPCeem9OOru3GUK8XM22VQUnhKbh/ATYSgzC4hujWAC+RZYQ+YhSy+Ar8HHri195G0okXRiAwTKlMBAGgc4wA0RVCO5JJRsbirmG7uzsdH5+pe9AavzzrV6r0IXWPu0vjZAPNTdOLWkSZtSMtDhAjxDizmLtATqQfa3dEw7gBAWTYZs2J6R26nX/4iWXr3Gz3pJ6ZzSStKrI+QrhpNGItGXoHURVp8M20xIGZjWc76dKfgPK5Ni55IJCjwqE8CIra7GZUUpW4xfaT2bo1whts/aYHrL27Zie9c66d/qmptsPOURsYyIt/N9W7piTArO4qyqU6zecr1tGetUt+f4Ndcdl1dvAhr1LPxRffGqo7FufvcO1HveIMwAtC6CojjnhQGGxjVVbAzaRhbCoGdGg/gAwmaMOxuHix01bFlpC8dDrwBapyszan+yK+gNErKgj6wsAAM90JXKc7IyaBxIquxJigzakcNDJdIwD3lRQIEUPQwXGhUHEzrRksYBSUiEMWW6Qsp532Ljv6aBZcrDgvSSwuYFZVyQyoRAvq7gmmUtlFX8LGUDnUgr/58kDGogLTskUNu/g3Bbvikkds3Yq6taTpbgWSEkBLWjzKyFtAVzYnp1Tx2LDJagXYLnhpSxpYNAMftot3UR5jgM0orexiiVCfjZSWWam2ymbM5gNV+9iJb+u1zmlmw6WNsi/SDswl1QPeJL7dQ7u0tfbYquWb7HOf/pqjF68/8Sh1bP3W2ZWybLrXdl24j3sOoMUhgHZmiTtoJu0DpWSQDpBT3ygp/wUyfqfNgvYKtLaHGccvVtpqcHvwQR/YM6hDtwTg4GsAHQBynj0AZ1QLz4nX1kw3I7CGdUvoBpmmhAuQawmowphEcBz43LysILaamTNocZ1U3gUH8OXLn7Brrr7Grr3+Wtt3373sox/9iM1fMMcZkCUZX3DraAz3nugPI5jq4iPhqDb82lCNihVzdUsn2ywlbd+/2uzuW2t27s+X2IP39dnwSNV623ewaKjTfaKDiMGEDLLNbebArQ3a4wZX9McWgZtm4Z21d2uaSKDpDEjkHyFOpN/W5++XPbLJjj52FzvlnQttt30FJj2uamUbKqy11tYuGdZZ9Z4bdB2DLFE30Aa1++53fmRXXXWdWyc7k00KwFnr6mmzeXN31vOCyD3aFxrCmusoG0IruB6BwNfN71xH7zvWGfB0jQ02OP9ignurODcJ2RhbYC+pdFccw6fpxqgMwI5fHOODb+agwUms441wMDWJRVsQAkCN1uB6vC6c+8VZPxcNKMjomSILX+ZeLAi8KYgLEmvCkDBG67x5c2ze/B3swQfvtd+e/2vbNLjBFsyf7T6nEYo0nTbjg6J1JjtIQFh3JMKyvqIc1ZL+DiX1XqIpAn62s2mz50dsj4Xdxhcb4KZ9G/r0zJLFInonGbO6I9DeVIPfSJ5SOK78XBs1yAgbwWnsURWEKkLA680RiU6/7bFHj73rvfvbqe+ZanN21vVoZ/VMsRS2Cksaj4jOEbKAMuDdGcFtsdtuu9PO/e3PbOFu02z+gqlqq4ZoyBQZ1NAKxh2CwTUS0ZrYNygeXH94RpyXqr3d2U9odRI2EgCnTTwOSB4j/u8XK201uP2LILE+8TcvhLalAsYm/saYhILQncHJcRcyEEQQFSNejHASHE+8CVFmBFYxvP/7318koO9nOy7YWc8FNBgtLCXAZNWgIQiwQrPPmTvbaW7K9de//MUuvewPapAZEoA2a0l1CCsCQg3wSPPwPfgGwVksbSADkkENgSEUqVqlPiRqE5KARm3fA6O2y8LJogIR97kN3I8j+RFxWq6VoABI14gUjfIR/61GHtXaABN3YvA3+wDAbpMgPLUiVfAOjDQGvmzpcNGcqgDNN9wTrf3WPmGTHfem6fbOD062o18fcxGQ9bDuTRSsVBFN6x+RMumUtk6r18w5ZYNRCnOkXX5x1i/sybXL7fAjDnHRgnNmz5V6TaonnWEZKSIW3KQNoZWEQRD+ikLC3YeHi+UamAfLrHZW5aWX9YbnWCCTBxvnX+y01bRkSxKPpIIBN19dQOMyhYlKhJ4w0olXBdCjMRgkes973ivwVeyXvzzL5s6b7Xy0Y3k+e7w0VCoNSfzJ4OBGNWxF3XDOBXXddNONdsCBB9nJJ51qu+62UEBOWj4n7i0gJRJMhWMpsbLOE4xFPHXZUSGiBFnYPRGLiIKETcrQHnnA7Jqr+u2vNzxu/WtjVim0WblAGGxGeSWl1dG48HhBCqAKuPQSDqwAHjyzqc1pAReY5SYJ48mhayfwiwU/RaMS4t7hAWtE19nk6TU7/JjZdthRE223vSTM0sbKWWqKbl/XhZikoHOiMPE44wisRlt0lAatyjlGEqF+hxxyoO200wL3vjvMmaPfMjIy21z70Nuyp/dklShihahXz6WZiIDiYZ0/nAXUPXR0W0pbrbm3JNF9UUFsjG5hgcPJ4XWMcrKuHMttwekYCmZoF4P005/+jKvgs846W40WDANjwEBpcFMhJOSJwYRGh4+n01kHtv33P0AG0R525x13uYi1gf4BaanJ1tkZfHgKDY92cZ+mExKY78jfzjPDaGdMQAekMmgj0updvSGbv0vaDjtymnVPNEu3VS0cL0qjr5chN2B5aUuEkVHTpgQPQPMcBoYArjAifg+oAz7qDEdpbGLPa7qnWitI8Q9bNLvBOiYO2b4HJ+zk02aLfuxghx2Ttenz6lbivmjJ0ZCA46OnJFTagp4t8DgFblGGwpPW37/Bvva1r7k6O+ywV0tBxK29o0sGZrvNEqVj8gi9JN4RBuKoUzQ19QqtxJCEajKIwwwdbCYSdcV7vBQa+tnSSwJugMloJBXPQAGNTmWSGL7lM24AlyW70CDEBxNK+d73vsf5WS+44Hw30fjBBx90k4zxkTM8j/amEdBQaBEEAYBxjqlk5EUPwTPRRCxBQIPQQH4gCg3E9TQ+PQO/s3F/Vd03YbDoykRGjd3VsJ5JZrvu1WZ7v6pLmrTLFixMyCYIWVun7knkpIWZTUGC4uSsXB0RDcBGyInW5ER/VOYQxyNuofnW9ohNnZa22fPSttdBTTv6jXE78dRp9qZTumzvAyPWOVG8Vs+u1JmAoS7ELb4/6q5x3UDA0ePqiYLlyoJPumBEUie/+92FboSYkUTqASrhQYxdBDgZVmfuJL5s6pXrGTAjrJkBOjYGdBhi5z4PatqTOttW0ktCS0hUPBVChVI5aF5ASQWiKahwDE6oCt0o4ZV4VT772c86Po5bisqkIfDHsmA94EZQEBxei41reAY9Axqdyuc8eeHKokfAUIJPEuyFZwYgYMB6ASmVVdYoa4uwuKfwJIOLYCUGQtwyygmWEJYhhRaWAhYLsoENZn3rKjawvmz9T3KO0dayDQ1SDj4Qi55l3cJWSyTDAlrYuroTNnFS2ronhK2l1axnimwUFnMSXhhVzOeLVq4N6XpsA6eX9aMHNB6VuE7ClQXodNwGBvo2hzBQJ/BnDHWonjfmqWfsIPzT1B91RZ0xXYzPtzA6yZgEdcwsK+oO5YRBuccee7iek/u2JVD79JKAm8rw0g7gABEVihbxhggJTwmgpWLh3xwjBESkYaEzKZWhfT6ID7VB66JRACtdJ+DlPJNTx2oXegUSDRcEY13rBiJodCgRgkM5eJajUFayeCovo1H0ZDQ6EDA1anB+QnfxezMtjNn0DDKpS3QL30vIqiGrlfiEtxnftKwIj9ARap1XxYbEm0kwE86JcAxqwmcDy24IiMZpyHBtSvMzwgiG6I0Q1jjxuHhiHLA9wLWN4fQk6gUQssoqQs3ajNQ11AIXHoD2Hg/gQPQmXJt5sAg/xiMCTyePYkGBkFBQCD9/8wzqFwW1raSXhJb45IHMnkoBgGyAn3MAxRs2dI3MtcTgxHuCZmVEDPAygEBjA3aG+/HGQG/QPLgRcQ+SH9qLhmAjT7pUKAmjqWg4fO+4KREqPDcIVVA+fOtCpjSiC+yvicNWBaxmWtBiFjg+4WBYv9GUQEi7lmuDjoLwvUe3Fkk8bImUWTIjgzctIKdkE8hQbO1kjRPVQ6RqVRmwgJqPnzKhoiaJoD7g/RiEbqi/gSAxd5NALsqAxgTgcF0QjdRQhzXn9QFw1A1CTH34qWO8Oxware0pHfXN9dQtCgOAU9coEOoMoxzKCB1BWKhD7kFhcD/XcP+2kl4yWkJlkHi8ryT2VA4NChh90WgcjEq0B9Y5FcvAApUPmOHLaNl3v/vdznIn/JIBIRrh05/+tNNSAJvkn8PfPIs9vQf3w90JEUAw0GZ8pAo3VyIRs6HhAZUpoCMOUO77jKNLFKCWxXv5rg1Lo6HpWRrNfa6bL+3WWgQ7PCe6ZdRbAj9GtrmXdyXGBVBCNsgLgLNMBCOhGH0AiHP49kmVSik4dvdAT7gPYGvT/ywEOjJS2GzL8C7Qk2OPPdbtURoIL78DdOrCCz1tQ13gEQHkRPihVNDOlJXoTu73beTbibQtgfslK4mvTDa0NhXlK4a9a/DRDaAxM4SpT57jQSUAL5XM/YCcEUoGguDoDC6wJAGgICaCBvDPAdAcA2r2NDYNjbam26Uzg5p8//vfd73DnXc8aNlEr7ZOS0bbrFbmo0usoCXW2xiySmOTKEROWrogQaxbVb9bvduizanCXqdA3gyWYWCNEUYWxd85buq4ERH/llHYkCA00PzaKwcBGQoUdxqa79CjrZlR7zh1Pe5WnMWVWS0jcMxzRJMywspEDQalgrqlLrFb8EcT1OQ9TBiTUBHqw9si1FPQU8QcF0dZsLIr4EZ7o7UxRD2wSex5hm+zbSm9ZLRkbOU8W+I3/zuVz0aiIok9wduBVoaO4N7j+4ZUPNwSuoF/nNFPlhzA+EFD0QtwD3nQiL4HQYB4FsJAYzJYQfcNF//1r8+zkaGodXZM0Za2eIJPeDB9DXshLEWJ6075JtPWkmkV905ZflgUq8anw6WxmS3htKrexb8uf+tO93rumMQ1HPPegIX3Bbw64+4bo4t0gsjEgCqJhgjQvBN1BEUaHhpxPRrxNqxKAFWDhsCxsXH4DSrGOYSbesBGQTkg6PzObxxDW5iUQq/JwNqztdnfa8uXIr2knHtLEtoZjQTXZvoZBiRam+6VASHiVuhOMRYxdtC8aH00FUFV3EODocm9wNAo/E0jIwCeQ8LVacye7h674spL7Yab/myJdNwW7DjHhZrm80PSsCxtxtosCSvkC+oxciplyNra+eCRWbFEwBKgxAgb3RxPDoDrNueT5tifG927BXaUHwtnum9nSuO7HgCBZE2XqgQVzhusdRjng60CO3Hm/N3S0uqMbxQBgWm8K0BFcwNy6gRNzXligXh/RogJlMIgR0EgMCgHEtGcJK5/OaSXHbjRsICbRoH7YTDShcIpGWAA6HhWoB405GmnneY0FBycgSHWr0PjQzsAOV0xbkaEBK8KQPdUiUYE7LNmTbU99p4voA7YmT/7od16283u2pkzZgvG4uODeWfosSgmWpEFfoqlnBstfAoHo1otUMxBcnyZP8ZsTvuxsYO+AGw0P5u49ejGoA+gZvY6iVFGPdCNsCIYXV3tbj1tYkHQuLwTYKZnQyPzXtQh5xHsj3zkI46y0PvhJkQRYIAyloBbkDEHvCcvF2CTXjLOvTWJRkADe37ISBkeD7wd0AkGauhWAap3+6G94Oy4tbgHQENRMFKhHzQ62hqjid8RIrQW5xgOnzW7y04+9bX2X9/5irW0pu0DH/iQfflLX7dVK9ZZT2ePpZPtbmYLw/XgrBEakcYetmQKIKJxPUD/l80Zh2jmgLZs3hytwejkOobopbVFwct8uk9/8z1LPC0YvZSPj2L99KdnuJ4Hlx/ABshQLoQdkNKz8a7wcegLvm4EHqVB+AMKAyXByDHgp75fTullp7kBJA0CeNE4GEM0EhXP3D0ahoZjFA2gMu8Syx/tzqgb2hytjTGFPxz3FvcgFJ6zki/PAQwAISkUQQGSyTZryXbq/r2st3uym/19xR+vUhlq1tXdobw7ZFRWnCcDSsCXCvI58hEKnauODa3sdUqgdYNzHHt6MnrsfNe4+9gImx2lK9rg5MRpF4oFcfwg1BRBbG0RRYqF7Te/Ptduv/1W927UD+BGiBFa6g67gwR4GfXF6KSuuAbaQn3iNsQop76oc+qFbVvj1s+WXnbgphEBHUDkmD0bQPZGIQD1WgoOideDJQiIEWcmEPEqjEZihLLeChMoaGSG9AEIQPBGJ41cEnhTyR6LhlitNaXjFps3f47tsecuAtdGu/ray6X97nXcevr0mdbe1iUtblYYUQWHU9KyBBQRKSlQjBqJwQaYR/9mUoN3M7rfoBlJKWsEg5n3ysMtzqnzGJu6Rjhzs4yy2RZpcOiI6ThjixYtdqHDxO3MmzfXUSVoCDYEdcPgC94k3pN6o64YascNSg+HAsBzNFbIqR9vm1AvL4f0sgM3jeMrmWM2EsaQT94YZAACAUDDYmBCV/Ce+Jn3RMadfvrprjGZLcSwP8YTv6HZfSMmkgkrF/lWfFTHDG8LZw39nUk6Ljpt6jR7Ytlyu/KPf7RFjyx2cz1nTN9B+RA6y6f0WJYtpDJK6JRnXWVCaIj7IAXBVBJWAShYkoIAK72nfgsmZ4xSE09P2Ot/vu6bjKeML/yyeCf+cPLF7lix4gk3BQ+aAbD9wkgM2jDfkXgd3pURSDT029/+dleHeJ6Y/oeXyC9xB7BJ3E8aB/cLmAD32K7RHwN4Eo1AA7DBpZnTyQgnPJIGg3sz/w/PC1OjPvOZzzitzwwT4i/wkyMYaP5AmCQ8icCI5ctiqVSw3AThrEwAmDljB9tp54WiIm1uePsG3b9ixVJxX7wSU5QH5W0K1ARx4bKjsHUJoUDOCKZ+I64cYPNNd7cwZaPsNiZXPGVIAnTPe8kTIQiWqyDqDzrBe5533rkO2ERY0gMBbOoCGoYWR2MzN5LoQEDMdYQeQEswJqlP6oA88JhQr2xje82XQ3pZgvvvJRqBxgGI7GkMAI6GxeiEQ6LFcRvi/2WRTjQZLjN84XBvjE4aG55OIBf3kw8aOAB1sAhoUhodcKPZCCddsGC+AwgCgAbEwOXbNXPnznFaHO3Mb+w97UF4ADmx5Ew6ZhUtjFKuIwXaPRDap/aCtt4NgRwaFvcR0NHICCueIn4DmIAdm4Ey4yrlb2galIMNoPOOCDoBaEwg8UPzjMxiYHIvZeR9eW/P1V8OabsCN41K8poFTQPYvfeDPYmBChr/TW96k3OV0YgckxisIKYZ3zjHDDtjkMJToTqAnNgLgMIxDU++UBmez7MRIowweO1VV13ltGlbW7ubrsV9CANggT5xP/eQB3vO8zv5ASzewb/X0xPn/QboCBtgZhOCDJg5j51BD8Tf2B5EBSLQjO6ecsopjqrxXggj9gdu0quvvtoFkGF48nwSZfHJ1++2nrYrcHtaMrbR2fw53H9wa7QXMRM0EkPKgBd/OW5BJsDSbfPlLqa+QWng6BhoaHyOASj5YWyxRwMG9IXBk7oDGpwdLYjgMFJKHAzPcoNC6gk8gBEArxG98PE3gkN+/p2enjiPmxOhJR/oBT0OgKT34PnwZfJFOyPEzHDC70+5/HvgUoWCMawOkBFoViWAnlBGysSzKI8HNeV6OaSXLHDqhU681tMbAV8uWouGpfFpeM7hIsSwogEZ4PjUpz7ltDccHbrCgA2DGggHGwAFCACaBKBJ3A8wSQAPYQAgbHBYBpEQCDw3eGy8NuQeridP8mDjHg+qZ0tekHhPVhJg4u7RRx/teDLAhV5QVnoaDEaCptDcPJewVjg3xjbUBUMbUHMtAkO+9Fb8Rjl8L/NyStsluHklNhp9LMABj+/6aTwARIOxR2Oh/VhbGu6KhmMYmpgM7kPjA1C6bnzjhMayVh5uRDSjpxeAlPwBEM8GIIAcwDAKSmgAPng0Op4aohgBEABnCJzEtR5Qf48CeGFCYAk7gF4guDwbOkK+UCGCnxBgjEjyw2gmNp73Zd0Y/3VghA/e7QFO/ryDh4gX3L8ncNtSenmQp/9j8oCgEZ4ObBKNQuNCI9CgAJxzdL0YkBibaD0MLKav0b2TAA+AZkEaNB6zvokeZIIs8w2hMx7Y5DXWTw5IcDUCeOgDnhoWHgKIzCqC7gA6ygovBpiU378DyQuqT/6Y/DlG0BAi7AiEjN6H8zybazCECemll8Kbw8gjggZH55j4G6710ZNofPLhmHzJi/KQF9vLJW1X4KYRAKvXOE9P/pxveJ+4HlChoREOQj2JsUDzAVw8K4z00W3T4AAXIBKvgpZHEwIWwOGFi+s8GHgePBtww4lxvfEMKAKGHF4baAVxLwgG15MH17OnXJSPvEm+rPxG7AcGIGWjTJwjDwDuKQUGJjYFtARDmd8YlUS7Uz40OO8ERx9bb/xGXiRfp2N/39bTdsu5n2sCOJ5OeG6JJmYNFegJ3JuZQBhfDH589atfdVQA9yEg5Ns/dOdwaXoBAAwAAQNVTJ48A01IAjgYkwgEGhSQ44dmChjGHAB0gz+joPL34fJjFJGoPp6HgNET8Q19NC69BIKEqw86xPtwHq3Nc7A1yB9BIG+MaXz9XM/EDigW57eHNA7uMcmDkQ3wkaAveFcADYM9/OYnMQAY6Ap+8ve9731OM6J9uRdjDSACIoQGAAJuaAvPIYIREJLoHcgDPo5HBXqBkCBI2ANoY3oawIwgkQDteeed50Ya6QWgOeQNxyZfysnzASrPo0z+nViYFAOZ56L1mVaHfxy3IOd4Bve/3NN2N4izpQkZ9w069pjkXXd083hQ0KJwWK7BX4yxhkcFDc+MFbg0wAcoaEbciQDbgwzAeT7MBrVBozIDH580HgxAh1ZHQ/MbiXLxXLQ6kXwYuVAOyoAAYC9AL/CUUFZ6C857oWJPHvRIeFYAOM8jH3og3ofrtgdgk8Y192gCBDQq1eE1OOAACICR85yDprCGB5qTBfXxoOAzZ04ngzcM2ABwBorQ+sREEzLKgAkJgJEPGxqdvwEke3i7BzvxHRiKCAFUhV4BIHINwMW4xdDFrQgguc57SAA/5SMvhJLyc8x78Rx+g7KwcS28mt+oA65l2x7SOLhHE41OAgQ0Mo0NCAAHxwDdAx4uzDXQBAxPjE3cetzL4kG446AlDJAAcrp71vyAesCr4eMkD3IPKoSBDYGiWVhxC5AzNA69YZY/zwLUPA83JICmTMSPAH7oE8Li34Ey8QzyJ1//Hv6Z9ASc4x56GagMf28PaRzco4nG9nsa3XNP/mZDO3oDjyqDQ+OXxjVIaCnAgp4QkXf55Ze7vzESATlxGgAbTU0+aGJcieQBAEmAkISQIVAAkY1nAmaMQYQF9yR+acCMDx5QQpswBDEc8cb4Mnpwe2D7Z3hh5W+OATvlQrA4Js/tIY2D+2mJ6qCBaXRAwbFPAI9z7DnvwUICkCyoDwdmNBBezuwVjDVAjHGIH52YcWjM5z73OTcPlPsAFs8FyACLZwA0/uY38vIfyiIsF2pCBCPXQSvwdKCxPc8mUb5nKjvPQVh92cdeQxr728s9jYP7eUqAlFFOtDgAI1acUT9ipdHuX/7yl11MB+CBf3OeZYHRqBifjAxyDIARCLwlNA0gR9C4j2dAVeDkUCaeg7bGPw2dQDA4B4jH03Y2iPNSJjQsAPW6Ag8HwVdobYDogQ3FgKvjncAwhZ4Acvzoy5cvd8tSMDDjQYqhCIDRvDwDVx9D93hRADUbv3uNPZ6eSuOa+3lI3v8M+DgG0CS0Lh6Ps88+22lyXHTQEegDIbH4lhmEYfQQUKOxAS1BTGhi0lhNDGfnb2gJzQZtAdgIAM/2FMNz7e2FXmxpGtfcz0MCXB5YgA0woq05ZjkEDEpATVgpcxXxerB2HzHkrCeC9wQOzQgoo4c+FgVNj8bGuAXMPrAKbc15egcEBWCPTeP6Kkjjmvt5SgDQa0/ADX/2rkT+ho/jdmPABfpBVB7x1Qz+oOEBP+Al7pqBIjwt5AXo8Z+TN5qYgR1AjwCw5xxN6J/Dxt9PNxRfiWl8hPJ5SN6dBmUAcCTADj0BbPyOaxC+TOIaRiHZA1oCrwhLZXgfjc4IJx8sRfPjWUFD4xHhemJYyJO8oCfeu0IC1IB9HNhBGqclz0PyvBjt6Y9x0QE2D3ZADJXgd7QuVIX5mWhpFhWCnjCxAPDCzdHWuBTxZxO1B6dn5ScWAMU4xW/OEP3YQCyvxdnG0zi4n7cEoNGiY7Umx2z8xh7QAXCOoRsYk2hlwlWJzPOTCRhaJ3aEUFh4OPfh/mOQiHsAPFGJTF9j6Nznyx4BG09BGgf3i5AALMkDnIQm97PxoSR4RwiBBeycB+AM/EBHGOxh5BOaghHKfEwi+4hEJB96B5+3z388jRuUL2ryVe21LBQFTYvhSYJ781k8jEaoB9f40U5GP3EX4ioE4EQg4n0hLzby4Ho2gM72Sk/jmvtFSB6AHnRjjT72ABKfNYAmEIul3kgEWbHhJ2eACPqCD5z4EgaIyBNjFSHxwCZvNDnHr/Q0rrlfhEQVe8PSezbGJn5Dg8PZOcbTAmgxShnFZH1DNDoCwHITuBCZnABNIQFo/OI8Bw+NpylegF6paRzcL2LymhbQeZD7Pc3gp4UBUP5mw2iElhDyyowbRjYZ7eS+sfcCbkDue4VnEqJXWhoH9wucPKDRyiRf3V6romXHam4Gf7gGqoGx6GkHAz+/+c1vnBEJgAlz5T6u99qa82h3gO15/Cs5jYP7ZZJoJgAMcDl+pVOO/0saB/d42m7TuLdkPG23aRzc42m7TePgHk/bbRoH93jabtM4uMfTdpvGwT2etts0Du7xtN2mcXCPp+02jYN7PG23aRzc42k7TWb/H+e4LFtrCmP5AAAAAElFTkSuQmCC"/>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pic>
        <p:nvPicPr>
          <p:cNvPr id="7" name="Bilde 6"/>
          <p:cNvPicPr>
            <a:picLocks noChangeAspect="1"/>
          </p:cNvPicPr>
          <p:nvPr/>
        </p:nvPicPr>
        <p:blipFill>
          <a:blip r:embed="rId3"/>
          <a:stretch>
            <a:fillRect/>
          </a:stretch>
        </p:blipFill>
        <p:spPr>
          <a:xfrm>
            <a:off x="7042484" y="160338"/>
            <a:ext cx="1935873" cy="2030562"/>
          </a:xfrm>
          <a:prstGeom prst="rect">
            <a:avLst/>
          </a:prstGeom>
        </p:spPr>
      </p:pic>
    </p:spTree>
    <p:extLst>
      <p:ext uri="{BB962C8B-B14F-4D97-AF65-F5344CB8AC3E}">
        <p14:creationId xmlns:p14="http://schemas.microsoft.com/office/powerpoint/2010/main" val="14948855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a:xfrm>
            <a:off x="288035" y="268201"/>
            <a:ext cx="7126917" cy="346249"/>
          </a:xfrm>
        </p:spPr>
        <p:txBody>
          <a:bodyPr>
            <a:normAutofit/>
          </a:bodyPr>
          <a:lstStyle/>
          <a:p>
            <a:r>
              <a:rPr lang="nb-NO" dirty="0" smtClean="0"/>
              <a:t>Selvangivelsen til 1995 – Mye papir…</a:t>
            </a:r>
            <a:endParaRPr lang="nb-NO" dirty="0"/>
          </a:p>
        </p:txBody>
      </p:sp>
      <p:sp>
        <p:nvSpPr>
          <p:cNvPr id="6" name="Plassholder for innhold 5"/>
          <p:cNvSpPr>
            <a:spLocks noGrp="1"/>
          </p:cNvSpPr>
          <p:nvPr>
            <p:ph idx="1"/>
          </p:nvPr>
        </p:nvSpPr>
        <p:spPr/>
        <p:txBody>
          <a:bodyPr/>
          <a:lstStyle/>
          <a:p>
            <a:endParaRPr lang="nb-NO"/>
          </a:p>
        </p:txBody>
      </p:sp>
      <p:pic>
        <p:nvPicPr>
          <p:cNvPr id="9219" name="Bilde 1" descr="image001"/>
          <p:cNvPicPr>
            <a:picLocks noChangeAspect="1" noChangeArrowheads="1"/>
          </p:cNvPicPr>
          <p:nvPr/>
        </p:nvPicPr>
        <p:blipFill rotWithShape="1">
          <a:blip r:embed="rId3">
            <a:extLst>
              <a:ext uri="{28A0092B-C50C-407E-A947-70E740481C1C}">
                <a14:useLocalDpi xmlns:a14="http://schemas.microsoft.com/office/drawing/2010/main" val="0"/>
              </a:ext>
            </a:extLst>
          </a:blip>
          <a:srcRect l="7448" t="7445" r="1790" b="9346"/>
          <a:stretch/>
        </p:blipFill>
        <p:spPr bwMode="auto">
          <a:xfrm>
            <a:off x="4401217" y="1489075"/>
            <a:ext cx="4744371" cy="3647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descr="http://e24.vgc.no/drpublish/images/article/2013/04/05/20354446/1/990/Negativ.jpg"/>
          <p:cNvPicPr>
            <a:picLocks noChangeAspect="1" noChangeArrowheads="1"/>
          </p:cNvPicPr>
          <p:nvPr/>
        </p:nvPicPr>
        <p:blipFill rotWithShape="1">
          <a:blip r:embed="rId4">
            <a:extLst>
              <a:ext uri="{28A0092B-C50C-407E-A947-70E740481C1C}">
                <a14:useLocalDpi xmlns:a14="http://schemas.microsoft.com/office/drawing/2010/main" val="0"/>
              </a:ext>
            </a:extLst>
          </a:blip>
          <a:srcRect r="13777"/>
          <a:stretch/>
        </p:blipFill>
        <p:spPr bwMode="auto">
          <a:xfrm>
            <a:off x="0" y="1489075"/>
            <a:ext cx="4401217" cy="3619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6025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Image result for I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7748" y="1911927"/>
            <a:ext cx="3537839" cy="3196648"/>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p:txBody>
          <a:bodyPr>
            <a:normAutofit/>
          </a:bodyPr>
          <a:lstStyle/>
          <a:p>
            <a:r>
              <a:rPr lang="nb-NO" dirty="0" smtClean="0"/>
              <a:t>Fra Papir til digital skattemelding</a:t>
            </a:r>
            <a:endParaRPr lang="nb-NO" dirty="0"/>
          </a:p>
        </p:txBody>
      </p:sp>
      <p:sp>
        <p:nvSpPr>
          <p:cNvPr id="3" name="Plassholder for innhold 2"/>
          <p:cNvSpPr>
            <a:spLocks noGrp="1"/>
          </p:cNvSpPr>
          <p:nvPr>
            <p:ph idx="1"/>
          </p:nvPr>
        </p:nvSpPr>
        <p:spPr>
          <a:xfrm>
            <a:off x="288036" y="1981200"/>
            <a:ext cx="3386189" cy="2771394"/>
          </a:xfrm>
        </p:spPr>
        <p:txBody>
          <a:bodyPr>
            <a:normAutofit/>
          </a:bodyPr>
          <a:lstStyle/>
          <a:p>
            <a:r>
              <a:rPr lang="nb-NO" dirty="0" smtClean="0"/>
              <a:t>1995: Forenklet papirversjon</a:t>
            </a:r>
          </a:p>
          <a:p>
            <a:r>
              <a:rPr lang="nb-NO" dirty="0" smtClean="0"/>
              <a:t>1999: </a:t>
            </a:r>
            <a:r>
              <a:rPr lang="nb-NO" dirty="0" err="1" smtClean="0"/>
              <a:t>Preutfylt</a:t>
            </a:r>
            <a:r>
              <a:rPr lang="nb-NO" dirty="0" smtClean="0"/>
              <a:t> papirversjon</a:t>
            </a:r>
          </a:p>
          <a:p>
            <a:r>
              <a:rPr lang="nb-NO" dirty="0" smtClean="0"/>
              <a:t>2003: Forenklet digital versjon (av papiret)</a:t>
            </a:r>
          </a:p>
          <a:p>
            <a:r>
              <a:rPr lang="nb-NO" dirty="0"/>
              <a:t>2006</a:t>
            </a:r>
            <a:r>
              <a:rPr lang="nb-NO" dirty="0" smtClean="0"/>
              <a:t>: Komplett </a:t>
            </a:r>
            <a:r>
              <a:rPr lang="nb-NO" dirty="0"/>
              <a:t>digital versjon (av papiret)</a:t>
            </a:r>
          </a:p>
          <a:p>
            <a:r>
              <a:rPr lang="nb-NO" dirty="0" smtClean="0"/>
              <a:t>2018-2025: Helt ny digital versjon</a:t>
            </a:r>
            <a:endParaRPr lang="nb-NO" dirty="0"/>
          </a:p>
        </p:txBody>
      </p:sp>
      <p:pic>
        <p:nvPicPr>
          <p:cNvPr id="8194" name="Picture 2" descr="Related 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49041" y="1911927"/>
            <a:ext cx="2271302" cy="31966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94452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result for global netwo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036" y="1981200"/>
            <a:ext cx="3693936" cy="1574783"/>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p:txBody>
          <a:bodyPr>
            <a:normAutofit/>
          </a:bodyPr>
          <a:lstStyle/>
          <a:p>
            <a:r>
              <a:rPr lang="en-GB" dirty="0" err="1"/>
              <a:t>En</a:t>
            </a:r>
            <a:r>
              <a:rPr lang="en-GB" dirty="0"/>
              <a:t> </a:t>
            </a:r>
            <a:r>
              <a:rPr lang="en-GB" dirty="0" err="1"/>
              <a:t>stor</a:t>
            </a:r>
            <a:r>
              <a:rPr lang="en-GB" dirty="0"/>
              <a:t> </a:t>
            </a:r>
            <a:r>
              <a:rPr lang="en-GB" dirty="0" err="1"/>
              <a:t>omstilling</a:t>
            </a:r>
            <a:r>
              <a:rPr lang="en-GB" dirty="0"/>
              <a:t> for Skatt </a:t>
            </a:r>
            <a:r>
              <a:rPr lang="en-GB" dirty="0" err="1"/>
              <a:t>fremover</a:t>
            </a:r>
            <a:endParaRPr lang="en-GB" dirty="0"/>
          </a:p>
        </p:txBody>
      </p:sp>
      <p:sp>
        <p:nvSpPr>
          <p:cNvPr id="3" name="Plassholder for innhold 2"/>
          <p:cNvSpPr>
            <a:spLocks noGrp="1"/>
          </p:cNvSpPr>
          <p:nvPr>
            <p:ph idx="1"/>
          </p:nvPr>
        </p:nvSpPr>
        <p:spPr>
          <a:xfrm>
            <a:off x="288035" y="3760626"/>
            <a:ext cx="4062583" cy="1163799"/>
          </a:xfrm>
        </p:spPr>
        <p:txBody>
          <a:bodyPr>
            <a:normAutofit/>
          </a:bodyPr>
          <a:lstStyle/>
          <a:p>
            <a:r>
              <a:rPr lang="en-GB" dirty="0" err="1"/>
              <a:t>Globale</a:t>
            </a:r>
            <a:r>
              <a:rPr lang="en-GB" dirty="0"/>
              <a:t> </a:t>
            </a:r>
            <a:r>
              <a:rPr lang="en-GB" dirty="0" err="1"/>
              <a:t>utfordringer</a:t>
            </a:r>
            <a:endParaRPr lang="en-GB" dirty="0"/>
          </a:p>
          <a:p>
            <a:pPr lvl="1"/>
            <a:r>
              <a:rPr lang="en-GB" dirty="0" err="1"/>
              <a:t>Lovlig</a:t>
            </a:r>
            <a:r>
              <a:rPr lang="en-GB" dirty="0"/>
              <a:t> </a:t>
            </a:r>
            <a:r>
              <a:rPr lang="en-GB" dirty="0" err="1"/>
              <a:t>og</a:t>
            </a:r>
            <a:r>
              <a:rPr lang="en-GB" dirty="0"/>
              <a:t> </a:t>
            </a:r>
            <a:r>
              <a:rPr lang="en-GB" dirty="0" err="1"/>
              <a:t>ulovlig</a:t>
            </a:r>
            <a:r>
              <a:rPr lang="en-GB" dirty="0"/>
              <a:t> </a:t>
            </a:r>
            <a:r>
              <a:rPr lang="en-GB" dirty="0" err="1"/>
              <a:t>skatteunnvikelse</a:t>
            </a:r>
            <a:endParaRPr lang="en-GB" dirty="0"/>
          </a:p>
          <a:p>
            <a:pPr lvl="1"/>
            <a:r>
              <a:rPr lang="en-GB" dirty="0" err="1"/>
              <a:t>Svindel</a:t>
            </a:r>
            <a:r>
              <a:rPr lang="en-GB" dirty="0"/>
              <a:t> </a:t>
            </a:r>
            <a:r>
              <a:rPr lang="en-GB" dirty="0" err="1"/>
              <a:t>og</a:t>
            </a:r>
            <a:r>
              <a:rPr lang="en-GB" dirty="0"/>
              <a:t> </a:t>
            </a:r>
            <a:r>
              <a:rPr lang="en-GB" dirty="0" err="1"/>
              <a:t>ulovlige</a:t>
            </a:r>
            <a:r>
              <a:rPr lang="en-GB" dirty="0"/>
              <a:t> </a:t>
            </a:r>
            <a:r>
              <a:rPr lang="en-GB" dirty="0" err="1"/>
              <a:t>skatteavtaler</a:t>
            </a:r>
            <a:endParaRPr lang="en-GB" dirty="0"/>
          </a:p>
          <a:p>
            <a:pPr lvl="1"/>
            <a:r>
              <a:rPr lang="en-GB" dirty="0" err="1"/>
              <a:t>Delingsøkonomi</a:t>
            </a:r>
            <a:r>
              <a:rPr lang="en-GB" dirty="0"/>
              <a:t> </a:t>
            </a:r>
            <a:r>
              <a:rPr lang="en-GB" dirty="0" err="1"/>
              <a:t>og</a:t>
            </a:r>
            <a:r>
              <a:rPr lang="en-GB" dirty="0"/>
              <a:t> </a:t>
            </a:r>
            <a:r>
              <a:rPr lang="en-GB" dirty="0" err="1"/>
              <a:t>informasjonstilgang</a:t>
            </a:r>
            <a:endParaRPr lang="en-GB" dirty="0"/>
          </a:p>
        </p:txBody>
      </p:sp>
      <p:pic>
        <p:nvPicPr>
          <p:cNvPr id="2052" name="Picture 4" descr="Image result for opportunities"/>
          <p:cNvPicPr>
            <a:picLocks noChangeAspect="1" noChangeArrowheads="1"/>
          </p:cNvPicPr>
          <p:nvPr/>
        </p:nvPicPr>
        <p:blipFill rotWithShape="1">
          <a:blip r:embed="rId4">
            <a:extLst>
              <a:ext uri="{28A0092B-C50C-407E-A947-70E740481C1C}">
                <a14:useLocalDpi xmlns:a14="http://schemas.microsoft.com/office/drawing/2010/main" val="0"/>
              </a:ext>
            </a:extLst>
          </a:blip>
          <a:srcRect t="-12989" b="12989"/>
          <a:stretch/>
        </p:blipFill>
        <p:spPr bwMode="auto">
          <a:xfrm>
            <a:off x="4820172" y="1746066"/>
            <a:ext cx="3600000" cy="1811403"/>
          </a:xfrm>
          <a:prstGeom prst="rect">
            <a:avLst/>
          </a:prstGeom>
          <a:noFill/>
          <a:extLst>
            <a:ext uri="{909E8E84-426E-40DD-AFC4-6F175D3DCCD1}">
              <a14:hiddenFill xmlns:a14="http://schemas.microsoft.com/office/drawing/2010/main">
                <a:solidFill>
                  <a:srgbClr val="FFFFFF"/>
                </a:solidFill>
              </a14:hiddenFill>
            </a:ext>
          </a:extLst>
        </p:spPr>
      </p:pic>
      <p:sp>
        <p:nvSpPr>
          <p:cNvPr id="8" name="Plassholder for innhold 2"/>
          <p:cNvSpPr txBox="1">
            <a:spLocks/>
          </p:cNvSpPr>
          <p:nvPr/>
        </p:nvSpPr>
        <p:spPr>
          <a:xfrm>
            <a:off x="4860036" y="3760625"/>
            <a:ext cx="3922014" cy="1163799"/>
          </a:xfrm>
          <a:prstGeom prst="rect">
            <a:avLst/>
          </a:prstGeom>
        </p:spPr>
        <p:txBody>
          <a:bodyPr vert="horz" lIns="0" tIns="0" rIns="0" bIns="0" rtlCol="0">
            <a:normAutofit/>
          </a:bodyPr>
          <a:lst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a:lstStyle>
          <a:p>
            <a:pPr marL="170272" marR="0" lvl="0" indent="-170272" algn="l" defTabSz="681091" rtl="0" eaLnBrk="1" fontAlgn="auto" latinLnBrk="0" hangingPunct="1">
              <a:lnSpc>
                <a:spcPct val="90000"/>
              </a:lnSpc>
              <a:spcBef>
                <a:spcPts val="745"/>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prstClr val="black"/>
                </a:solidFill>
                <a:effectLst/>
                <a:uLnTx/>
                <a:uFillTx/>
                <a:latin typeface="Arial" panose="020B0604020202020204"/>
                <a:ea typeface="+mn-ea"/>
                <a:cs typeface="+mn-cs"/>
              </a:rPr>
              <a:t>Muligheter</a:t>
            </a:r>
            <a:r>
              <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rPr>
              <a:t> med </a:t>
            </a:r>
            <a:r>
              <a:rPr kumimoji="0" lang="en-GB" sz="1800" b="0" i="0" u="none" strike="noStrike" kern="1200" cap="none" spc="0" normalizeH="0" baseline="0" noProof="0" dirty="0" err="1">
                <a:ln>
                  <a:noFill/>
                </a:ln>
                <a:solidFill>
                  <a:prstClr val="black"/>
                </a:solidFill>
                <a:effectLst/>
                <a:uLnTx/>
                <a:uFillTx/>
                <a:latin typeface="Arial" panose="020B0604020202020204"/>
                <a:ea typeface="+mn-ea"/>
                <a:cs typeface="+mn-cs"/>
              </a:rPr>
              <a:t>ny</a:t>
            </a:r>
            <a:r>
              <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800" b="0" i="0" u="none" strike="noStrike" kern="1200" cap="none" spc="0" normalizeH="0" baseline="0" noProof="0" dirty="0" err="1">
                <a:ln>
                  <a:noFill/>
                </a:ln>
                <a:solidFill>
                  <a:prstClr val="black"/>
                </a:solidFill>
                <a:effectLst/>
                <a:uLnTx/>
                <a:uFillTx/>
                <a:latin typeface="Arial" panose="020B0604020202020204"/>
                <a:ea typeface="+mn-ea"/>
                <a:cs typeface="+mn-cs"/>
              </a:rPr>
              <a:t>teknologi</a:t>
            </a: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Utveksling</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av</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smtClean="0">
                <a:ln>
                  <a:noFill/>
                </a:ln>
                <a:solidFill>
                  <a:prstClr val="black"/>
                </a:solidFill>
                <a:effectLst/>
                <a:uLnTx/>
                <a:uFillTx/>
                <a:latin typeface="Arial" panose="020B0604020202020204"/>
                <a:ea typeface="+mn-ea"/>
                <a:cs typeface="+mn-cs"/>
              </a:rPr>
              <a:t>informasjon</a:t>
            </a:r>
            <a:endPar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Kommunikasjon</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i</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sanntid</a:t>
            </a:r>
            <a:endPar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Big Data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og</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nalyse</a:t>
            </a:r>
          </a:p>
        </p:txBody>
      </p:sp>
    </p:spTree>
    <p:extLst>
      <p:ext uri="{BB962C8B-B14F-4D97-AF65-F5344CB8AC3E}">
        <p14:creationId xmlns:p14="http://schemas.microsoft.com/office/powerpoint/2010/main" val="10842705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Image result for internationaliz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03586"/>
            <a:ext cx="9145588" cy="4004988"/>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a:xfrm>
            <a:off x="1052664" y="440087"/>
            <a:ext cx="8371046" cy="512448"/>
          </a:xfrm>
        </p:spPr>
        <p:txBody>
          <a:bodyPr/>
          <a:lstStyle/>
          <a:p>
            <a:r>
              <a:rPr lang="nb-NO" dirty="0" smtClean="0"/>
              <a:t>Internasjonalisering er </a:t>
            </a:r>
            <a:r>
              <a:rPr lang="nb-NO" dirty="0" err="1" smtClean="0"/>
              <a:t>disruptivt</a:t>
            </a:r>
            <a:r>
              <a:rPr lang="nb-NO" dirty="0" smtClean="0"/>
              <a:t>!</a:t>
            </a:r>
            <a:endParaRPr lang="nb-NO" dirty="0"/>
          </a:p>
        </p:txBody>
      </p:sp>
      <p:sp>
        <p:nvSpPr>
          <p:cNvPr id="3" name="Plassholder for innhold 2"/>
          <p:cNvSpPr>
            <a:spLocks noGrp="1"/>
          </p:cNvSpPr>
          <p:nvPr>
            <p:ph idx="1"/>
          </p:nvPr>
        </p:nvSpPr>
        <p:spPr/>
        <p:txBody>
          <a:bodyPr/>
          <a:lstStyle/>
          <a:p>
            <a:endParaRPr lang="nb-NO"/>
          </a:p>
        </p:txBody>
      </p:sp>
    </p:spTree>
    <p:extLst>
      <p:ext uri="{BB962C8B-B14F-4D97-AF65-F5344CB8AC3E}">
        <p14:creationId xmlns:p14="http://schemas.microsoft.com/office/powerpoint/2010/main" val="30760810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serie">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479C7AA7-6071-420E-81D2-9189153D3BF5}"/>
    </a:ext>
  </a:extLst>
</a:theme>
</file>

<file path=ppt/theme/theme10.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illeggsvalg innhold">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C4EC79A5-540A-4BD7-B5B9-7B21482C2F3F}"/>
    </a:ext>
  </a:extLst>
</a:theme>
</file>

<file path=ppt/theme/theme3.xml><?xml version="1.0" encoding="utf-8"?>
<a:theme xmlns:a="http://schemas.openxmlformats.org/drawingml/2006/main" name="Tilleggsvalg bilder">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C75AAF0B-2134-4DD1-AD0F-A83DB6FB0C8A}"/>
    </a:ext>
  </a:extLst>
</a:theme>
</file>

<file path=ppt/theme/theme4.xml><?xml version="1.0" encoding="utf-8"?>
<a:theme xmlns:a="http://schemas.openxmlformats.org/drawingml/2006/main" name="5_Tilleggsvalg innhold">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7D460B63-783A-4444-B21C-E22CF2DD4BD7}" vid="{1E8CE8BC-3D6F-4097-B156-E28ACA00881E}"/>
    </a:ext>
  </a:extLst>
</a:theme>
</file>

<file path=ppt/theme/theme5.xml><?xml version="1.0" encoding="utf-8"?>
<a:theme xmlns:a="http://schemas.openxmlformats.org/drawingml/2006/main" name="1_Standardserie">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479C7AA7-6071-420E-81D2-9189153D3BF5}"/>
    </a:ext>
  </a:extLst>
</a:theme>
</file>

<file path=ppt/theme/theme6.xml><?xml version="1.0" encoding="utf-8"?>
<a:theme xmlns:a="http://schemas.openxmlformats.org/drawingml/2006/main" name="3_Standardserie">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479C7AA7-6071-420E-81D2-9189153D3BF5}"/>
    </a:ext>
  </a:extLst>
</a:theme>
</file>

<file path=ppt/theme/theme7.xml><?xml version="1.0" encoding="utf-8"?>
<a:theme xmlns:a="http://schemas.openxmlformats.org/drawingml/2006/main" name="2_Standardserie">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479C7AA7-6071-420E-81D2-9189153D3BF5}"/>
    </a:ext>
  </a:extLst>
</a:theme>
</file>

<file path=ppt/theme/theme8.xml><?xml version="1.0" encoding="utf-8"?>
<a:theme xmlns:a="http://schemas.openxmlformats.org/drawingml/2006/main" name="4_Tilleggsvalg innhold">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V3.potx" id="{EF585E6B-8A71-4A48-97DE-75D96C9E8245}" vid="{766702C6-8B95-4085-9F9E-E4018C8D64CA}"/>
    </a:ext>
  </a:ext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C3B4AAC5D646F499212DB9C5745FE30" ma:contentTypeVersion="14" ma:contentTypeDescription="Opprett et nytt dokument." ma:contentTypeScope="" ma:versionID="d54ae7390ed7534ba51b0fb7268e175f">
  <xsd:schema xmlns:xsd="http://www.w3.org/2001/XMLSchema" xmlns:xs="http://www.w3.org/2001/XMLSchema" xmlns:p="http://schemas.microsoft.com/office/2006/metadata/properties" xmlns:ns2="cac88abd-c5c8-440d-b517-c07797042b36" xmlns:ns3="f845c8bd-79ae-4750-b423-ca8e199b9977" targetNamespace="http://schemas.microsoft.com/office/2006/metadata/properties" ma:root="true" ma:fieldsID="864152e0fce4956aef65e2ebdd3f6875" ns2:_="" ns3:_="">
    <xsd:import namespace="cac88abd-c5c8-440d-b517-c07797042b36"/>
    <xsd:import namespace="f845c8bd-79ae-4750-b423-ca8e199b997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c88abd-c5c8-440d-b517-c07797042b36" elementFormDefault="qualified">
    <xsd:import namespace="http://schemas.microsoft.com/office/2006/documentManagement/types"/>
    <xsd:import namespace="http://schemas.microsoft.com/office/infopath/2007/PartnerControls"/>
    <xsd:element name="SharedWithUsers" ma:index="8" nillable="true" ma:displayName="Delt med"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lings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845c8bd-79ae-4750-b423-ca8e199b997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Innholdstype"/>
        <xsd:element ref="dc:title" minOccurs="0" maxOccurs="1" ma:index="3"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9D95AC8-C046-4212-B63B-8A484A0D70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c88abd-c5c8-440d-b517-c07797042b36"/>
    <ds:schemaRef ds:uri="f845c8bd-79ae-4750-b423-ca8e199b99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20A09B0-B2E3-462E-8F3A-3C48BA22A40F}">
  <ds:schemaRefs>
    <ds:schemaRef ds:uri="http://schemas.microsoft.com/sharepoint/v3/contenttype/forms"/>
  </ds:schemaRefs>
</ds:datastoreItem>
</file>

<file path=customXml/itemProps3.xml><?xml version="1.0" encoding="utf-8"?>
<ds:datastoreItem xmlns:ds="http://schemas.openxmlformats.org/officeDocument/2006/customXml" ds:itemID="{927E1C5B-4FE1-4928-9676-4895F8DDE872}">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845c8bd-79ae-4750-b423-ca8e199b9977"/>
    <ds:schemaRef ds:uri="http://purl.org/dc/elements/1.1/"/>
    <ds:schemaRef ds:uri="http://schemas.microsoft.com/office/2006/metadata/properties"/>
    <ds:schemaRef ds:uri="cac88abd-c5c8-440d-b517-c07797042b36"/>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mal_Skatteetaten</Template>
  <TotalTime>3357</TotalTime>
  <Words>2123</Words>
  <Application>Microsoft Office PowerPoint</Application>
  <PresentationFormat>Custom</PresentationFormat>
  <Paragraphs>520</Paragraphs>
  <Slides>54</Slides>
  <Notes>19</Notes>
  <HiddenSlides>0</HiddenSlides>
  <MMClips>1</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54</vt:i4>
      </vt:variant>
    </vt:vector>
  </HeadingPairs>
  <TitlesOfParts>
    <vt:vector size="72" baseType="lpstr">
      <vt:lpstr>MS PGothic</vt:lpstr>
      <vt:lpstr>Arial</vt:lpstr>
      <vt:lpstr>Arial Black</vt:lpstr>
      <vt:lpstr>Calibri</vt:lpstr>
      <vt:lpstr>Calibri Light</vt:lpstr>
      <vt:lpstr>Helvetica Light</vt:lpstr>
      <vt:lpstr>Verdana</vt:lpstr>
      <vt:lpstr>Wingdings</vt:lpstr>
      <vt:lpstr>Standardserie</vt:lpstr>
      <vt:lpstr>Tilleggsvalg innhold</vt:lpstr>
      <vt:lpstr>Tilleggsvalg bilder</vt:lpstr>
      <vt:lpstr>5_Tilleggsvalg innhold</vt:lpstr>
      <vt:lpstr>1_Standardserie</vt:lpstr>
      <vt:lpstr>3_Standardserie</vt:lpstr>
      <vt:lpstr>2_Standardserie</vt:lpstr>
      <vt:lpstr>4_Tilleggsvalg innhold</vt:lpstr>
      <vt:lpstr>Office-tema</vt:lpstr>
      <vt:lpstr>think-cell Slide</vt:lpstr>
      <vt:lpstr>Statlig IT - Status, styring og viktige utfordringer sett fra Skatteetaten  Geir Myrind, Sjefsinformasjonsarkitekt</vt:lpstr>
      <vt:lpstr>Mål: Sikre finansieringen av velferdsstaten</vt:lpstr>
      <vt:lpstr>Samfunnsoppdrag og hovedmålene</vt:lpstr>
      <vt:lpstr>Organisering av Skatteetaten</vt:lpstr>
      <vt:lpstr>PowerPoint Presentation</vt:lpstr>
      <vt:lpstr>Selvangivelsen til 1995 – Mye papir…</vt:lpstr>
      <vt:lpstr>Fra Papir til digital skattemelding</vt:lpstr>
      <vt:lpstr>En stor omstilling for Skatt fremover</vt:lpstr>
      <vt:lpstr>Internasjonalisering er disruptivt!</vt:lpstr>
      <vt:lpstr>Transaksjoner flyttes til lukkede nettverk utenfor Norge</vt:lpstr>
      <vt:lpstr>PowerPoint Presentation</vt:lpstr>
      <vt:lpstr>Svindel og sikkerhetsbrudd med konsekvenser</vt:lpstr>
      <vt:lpstr>Nesten ingen betalt skatt til Norge</vt:lpstr>
      <vt:lpstr>PowerPoint Presentation</vt:lpstr>
      <vt:lpstr>Etterkontroll mister betydning</vt:lpstr>
      <vt:lpstr>Analyse på strukturerte data</vt:lpstr>
      <vt:lpstr>Maskinlæring avslører alzheimers 10 år før symptomer </vt:lpstr>
      <vt:lpstr>Tilgang på informasjon og forståelse av den avgjørende!</vt:lpstr>
      <vt:lpstr>En stor omstilling for Skatt fremover</vt:lpstr>
      <vt:lpstr>PowerPoint Presentation</vt:lpstr>
      <vt:lpstr>PowerPoint Presentation</vt:lpstr>
      <vt:lpstr>IT utvikling –  en risikosport</vt:lpstr>
      <vt:lpstr>Felles system- utviklingsmetode?</vt:lpstr>
      <vt:lpstr>Forvaltning av informasjon i etaten – forenklet</vt:lpstr>
      <vt:lpstr>PowerPoint Presentation</vt:lpstr>
      <vt:lpstr>PowerPoint Presentation</vt:lpstr>
      <vt:lpstr>PowerPoint Presentation</vt:lpstr>
      <vt:lpstr>PowerPoint Presentation</vt:lpstr>
      <vt:lpstr>PowerPoint Presentation</vt:lpstr>
      <vt:lpstr>Helhetlig informasjonsforvaltning</vt:lpstr>
      <vt:lpstr>  Samhandlingsevne</vt:lpstr>
      <vt:lpstr>PowerPoint Presentation</vt:lpstr>
      <vt:lpstr>PowerPoint Presentation</vt:lpstr>
      <vt:lpstr>Skatteetatens forretningsmål krever god forvaltning av informasjon</vt:lpstr>
      <vt:lpstr>Vi beveger oss i riktig retning, men det er ikke nok…</vt:lpstr>
      <vt:lpstr>PowerPoint Presentation</vt:lpstr>
      <vt:lpstr>PowerPoint Presentation</vt:lpstr>
      <vt:lpstr>Styring vs forvaltning</vt:lpstr>
      <vt:lpstr>PowerPoint Presentation</vt:lpstr>
      <vt:lpstr>Produkt- og prosessledelse (PPL) skal bidra til at vi…</vt:lpstr>
      <vt:lpstr>PowerPoint Presentation</vt:lpstr>
      <vt:lpstr>PowerPoint Presentation</vt:lpstr>
      <vt:lpstr>Distribuerte dataprodukter eid av tverrfaglige produktteam (Data mesh) </vt:lpstr>
      <vt:lpstr>Data mesh - Essensen! </vt:lpstr>
      <vt:lpstr>Skyklar? </vt:lpstr>
      <vt:lpstr>PowerPoint Presentation</vt:lpstr>
      <vt:lpstr>Mye er på plass</vt:lpstr>
      <vt:lpstr>Kartet må følge terrenget - Informasjonsarkitektur</vt:lpstr>
      <vt:lpstr> Informasjons(metadata-)repository </vt:lpstr>
      <vt:lpstr>Orden og samlet kunnskap er forutsetninger for god informasjonsforvaltning</vt:lpstr>
      <vt:lpstr>Digitaliseringsarbeidet endrer retning</vt:lpstr>
      <vt:lpstr>PowerPoint Presentation</vt:lpstr>
      <vt:lpstr>PowerPoint Presentation</vt:lpstr>
      <vt:lpstr>PowerPoint Presentation</vt:lpstr>
    </vt:vector>
  </TitlesOfParts>
  <Company>Skatteetat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ckoff planprosess 2022</dc:title>
  <dc:creator>Fuglset, Ada Elisabeth Bolsønes</dc:creator>
  <dc:description>template by addpoint.no</dc:description>
  <cp:lastModifiedBy>Dag Wiese Schartum</cp:lastModifiedBy>
  <cp:revision>78</cp:revision>
  <dcterms:created xsi:type="dcterms:W3CDTF">2021-08-13T12:40:51Z</dcterms:created>
  <dcterms:modified xsi:type="dcterms:W3CDTF">2021-10-13T09:3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by">
    <vt:lpwstr>addpoint.no</vt:lpwstr>
  </property>
  <property fmtid="{D5CDD505-2E9C-101B-9397-08002B2CF9AE}" pid="3" name="SE_Mal">
    <vt:lpwstr>Ja</vt:lpwstr>
  </property>
  <property fmtid="{D5CDD505-2E9C-101B-9397-08002B2CF9AE}" pid="4" name="ContentTypeId">
    <vt:lpwstr>0x0101007C3B4AAC5D646F499212DB9C5745FE30</vt:lpwstr>
  </property>
</Properties>
</file>